
<file path=[Content_Types].xml><?xml version="1.0" encoding="utf-8"?>
<Types xmlns="http://schemas.openxmlformats.org/package/2006/content-types"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png" ContentType="image/png"/>
  <Default Extension="wdp" ContentType="image/vnd.ms-photo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olors1.xml" ContentType="application/vnd.ms-office.chartcolorstyle+xml"/>
  <Override PartName="/ppt/charts/colors10.xml" ContentType="application/vnd.ms-office.chartcolorstyle+xml"/>
  <Override PartName="/ppt/charts/colors11.xml" ContentType="application/vnd.ms-office.chartcolorstyle+xml"/>
  <Override PartName="/ppt/charts/colors12.xml" ContentType="application/vnd.ms-office.chartcolorstyle+xml"/>
  <Override PartName="/ppt/charts/colors13.xml" ContentType="application/vnd.ms-office.chartcolorstyle+xml"/>
  <Override PartName="/ppt/charts/colors14.xml" ContentType="application/vnd.ms-office.chartcolorstyle+xml"/>
  <Override PartName="/ppt/charts/colors15.xml" ContentType="application/vnd.ms-office.chartcolorstyle+xml"/>
  <Override PartName="/ppt/charts/colors16.xml" ContentType="application/vnd.ms-office.chartcolorstyle+xml"/>
  <Override PartName="/ppt/charts/colors17.xml" ContentType="application/vnd.ms-office.chartcolorstyle+xml"/>
  <Override PartName="/ppt/charts/colors18.xml" ContentType="application/vnd.ms-office.chartcolorstyle+xml"/>
  <Override PartName="/ppt/charts/colors19.xml" ContentType="application/vnd.ms-office.chartcolorstyle+xml"/>
  <Override PartName="/ppt/charts/colors2.xml" ContentType="application/vnd.ms-office.chartcolorstyle+xml"/>
  <Override PartName="/ppt/charts/colors20.xml" ContentType="application/vnd.ms-office.chartcolorstyle+xml"/>
  <Override PartName="/ppt/charts/colors21.xml" ContentType="application/vnd.ms-office.chartcolorstyle+xml"/>
  <Override PartName="/ppt/charts/colors22.xml" ContentType="application/vnd.ms-office.chartcolorstyle+xml"/>
  <Override PartName="/ppt/charts/colors23.xml" ContentType="application/vnd.ms-office.chartcolorstyle+xml"/>
  <Override PartName="/ppt/charts/colors24.xml" ContentType="application/vnd.ms-office.chartcolorstyle+xml"/>
  <Override PartName="/ppt/charts/colors25.xml" ContentType="application/vnd.ms-office.chartcolorstyle+xml"/>
  <Override PartName="/ppt/charts/colors26.xml" ContentType="application/vnd.ms-office.chartcolorstyle+xml"/>
  <Override PartName="/ppt/charts/colors27.xml" ContentType="application/vnd.ms-office.chartcolorstyle+xml"/>
  <Override PartName="/ppt/charts/colors28.xml" ContentType="application/vnd.ms-office.chartcolorstyle+xml"/>
  <Override PartName="/ppt/charts/colors29.xml" ContentType="application/vnd.ms-office.chartcolorstyle+xml"/>
  <Override PartName="/ppt/charts/colors3.xml" ContentType="application/vnd.ms-office.chartcolorstyle+xml"/>
  <Override PartName="/ppt/charts/colors30.xml" ContentType="application/vnd.ms-office.chartcolorstyle+xml"/>
  <Override PartName="/ppt/charts/colors31.xml" ContentType="application/vnd.ms-office.chartcolorstyle+xml"/>
  <Override PartName="/ppt/charts/colors32.xml" ContentType="application/vnd.ms-office.chartcolorstyle+xml"/>
  <Override PartName="/ppt/charts/colors33.xml" ContentType="application/vnd.ms-office.chartcolorstyle+xml"/>
  <Override PartName="/ppt/charts/colors34.xml" ContentType="application/vnd.ms-office.chartcolorstyle+xml"/>
  <Override PartName="/ppt/charts/colors35.xml" ContentType="application/vnd.ms-office.chartcolorstyle+xml"/>
  <Override PartName="/ppt/charts/colors36.xml" ContentType="application/vnd.ms-office.chartcolorstyle+xml"/>
  <Override PartName="/ppt/charts/colors37.xml" ContentType="application/vnd.ms-office.chartcolorstyle+xml"/>
  <Override PartName="/ppt/charts/colors38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colors6.xml" ContentType="application/vnd.ms-office.chartcolorstyle+xml"/>
  <Override PartName="/ppt/charts/colors7.xml" ContentType="application/vnd.ms-office.chartcolorstyle+xml"/>
  <Override PartName="/ppt/charts/colors8.xml" ContentType="application/vnd.ms-office.chartcolorstyle+xml"/>
  <Override PartName="/ppt/charts/colors9.xml" ContentType="application/vnd.ms-office.chartcolorstyle+xml"/>
  <Override PartName="/ppt/charts/style1.xml" ContentType="application/vnd.ms-office.chartstyle+xml"/>
  <Override PartName="/ppt/charts/style10.xml" ContentType="application/vnd.ms-office.chartstyle+xml"/>
  <Override PartName="/ppt/charts/style11.xml" ContentType="application/vnd.ms-office.chartstyle+xml"/>
  <Override PartName="/ppt/charts/style12.xml" ContentType="application/vnd.ms-office.chartstyle+xml"/>
  <Override PartName="/ppt/charts/style13.xml" ContentType="application/vnd.ms-office.chartstyle+xml"/>
  <Override PartName="/ppt/charts/style14.xml" ContentType="application/vnd.ms-office.chartstyle+xml"/>
  <Override PartName="/ppt/charts/style15.xml" ContentType="application/vnd.ms-office.chartstyle+xml"/>
  <Override PartName="/ppt/charts/style16.xml" ContentType="application/vnd.ms-office.chartstyle+xml"/>
  <Override PartName="/ppt/charts/style17.xml" ContentType="application/vnd.ms-office.chartstyle+xml"/>
  <Override PartName="/ppt/charts/style18.xml" ContentType="application/vnd.ms-office.chartstyle+xml"/>
  <Override PartName="/ppt/charts/style19.xml" ContentType="application/vnd.ms-office.chartstyle+xml"/>
  <Override PartName="/ppt/charts/style2.xml" ContentType="application/vnd.ms-office.chartstyle+xml"/>
  <Override PartName="/ppt/charts/style20.xml" ContentType="application/vnd.ms-office.chartstyle+xml"/>
  <Override PartName="/ppt/charts/style21.xml" ContentType="application/vnd.ms-office.chartstyle+xml"/>
  <Override PartName="/ppt/charts/style22.xml" ContentType="application/vnd.ms-office.chartstyle+xml"/>
  <Override PartName="/ppt/charts/style23.xml" ContentType="application/vnd.ms-office.chartstyle+xml"/>
  <Override PartName="/ppt/charts/style24.xml" ContentType="application/vnd.ms-office.chartstyle+xml"/>
  <Override PartName="/ppt/charts/style25.xml" ContentType="application/vnd.ms-office.chartstyle+xml"/>
  <Override PartName="/ppt/charts/style26.xml" ContentType="application/vnd.ms-office.chartstyle+xml"/>
  <Override PartName="/ppt/charts/style27.xml" ContentType="application/vnd.ms-office.chartstyle+xml"/>
  <Override PartName="/ppt/charts/style28.xml" ContentType="application/vnd.ms-office.chartstyle+xml"/>
  <Override PartName="/ppt/charts/style29.xml" ContentType="application/vnd.ms-office.chartstyle+xml"/>
  <Override PartName="/ppt/charts/style3.xml" ContentType="application/vnd.ms-office.chartstyle+xml"/>
  <Override PartName="/ppt/charts/style30.xml" ContentType="application/vnd.ms-office.chartstyle+xml"/>
  <Override PartName="/ppt/charts/style31.xml" ContentType="application/vnd.ms-office.chartstyle+xml"/>
  <Override PartName="/ppt/charts/style32.xml" ContentType="application/vnd.ms-office.chartstyle+xml"/>
  <Override PartName="/ppt/charts/style33.xml" ContentType="application/vnd.ms-office.chartstyle+xml"/>
  <Override PartName="/ppt/charts/style34.xml" ContentType="application/vnd.ms-office.chartstyle+xml"/>
  <Override PartName="/ppt/charts/style35.xml" ContentType="application/vnd.ms-office.chartstyle+xml"/>
  <Override PartName="/ppt/charts/style36.xml" ContentType="application/vnd.ms-office.chartstyle+xml"/>
  <Override PartName="/ppt/charts/style37.xml" ContentType="application/vnd.ms-office.chartstyle+xml"/>
  <Override PartName="/ppt/charts/style38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charts/style6.xml" ContentType="application/vnd.ms-office.chartstyle+xml"/>
  <Override PartName="/ppt/charts/style7.xml" ContentType="application/vnd.ms-office.chartstyle+xml"/>
  <Override PartName="/ppt/charts/style8.xml" ContentType="application/vnd.ms-office.chartstyle+xml"/>
  <Override PartName="/ppt/charts/style9.xml" ContentType="application/vnd.ms-office.chartstyle+xml"/>
  <Override PartName="/ppt/commentAuthors.xml" ContentType="application/vnd.openxmlformats-officedocument.presentationml.commentAuthors+xml"/>
  <Override PartName="/ppt/drawings/drawing1.xml" ContentType="application/vnd.openxmlformats-officedocument.drawingml.chartshapes+xml"/>
  <Override PartName="/ppt/drawings/drawing2.xml" ContentType="application/vnd.openxmlformats-officedocument.drawingml.chartshap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"/>
  </p:notesMasterIdLst>
  <p:handoutMasterIdLst>
    <p:handoutMasterId r:id="rId39"/>
  </p:handoutMasterIdLst>
  <p:sldIdLst>
    <p:sldId id="258" r:id="rId3"/>
    <p:sldId id="339" r:id="rId4"/>
    <p:sldId id="340" r:id="rId6"/>
    <p:sldId id="341" r:id="rId7"/>
    <p:sldId id="337" r:id="rId8"/>
    <p:sldId id="336" r:id="rId9"/>
    <p:sldId id="338" r:id="rId10"/>
    <p:sldId id="314" r:id="rId11"/>
    <p:sldId id="260" r:id="rId12"/>
    <p:sldId id="321" r:id="rId13"/>
    <p:sldId id="322" r:id="rId14"/>
    <p:sldId id="323" r:id="rId15"/>
    <p:sldId id="325" r:id="rId16"/>
    <p:sldId id="324" r:id="rId17"/>
    <p:sldId id="326" r:id="rId18"/>
    <p:sldId id="327" r:id="rId19"/>
    <p:sldId id="356" r:id="rId20"/>
    <p:sldId id="328" r:id="rId21"/>
    <p:sldId id="330" r:id="rId22"/>
    <p:sldId id="342" r:id="rId23"/>
    <p:sldId id="343" r:id="rId24"/>
    <p:sldId id="350" r:id="rId25"/>
    <p:sldId id="345" r:id="rId26"/>
    <p:sldId id="346" r:id="rId27"/>
    <p:sldId id="347" r:id="rId28"/>
    <p:sldId id="348" r:id="rId29"/>
    <p:sldId id="349" r:id="rId30"/>
    <p:sldId id="331" r:id="rId31"/>
    <p:sldId id="333" r:id="rId32"/>
    <p:sldId id="332" r:id="rId33"/>
    <p:sldId id="334" r:id="rId34"/>
    <p:sldId id="352" r:id="rId35"/>
    <p:sldId id="353" r:id="rId36"/>
    <p:sldId id="374" r:id="rId37"/>
    <p:sldId id="354" r:id="rId38"/>
  </p:sldIdLst>
  <p:sldSz cx="12192000" cy="6858000"/>
  <p:notesSz cx="6858000" cy="9144000"/>
  <p:custDataLst>
    <p:tags r:id="rId4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EA0DC41E-9D38-425F-9623-F567E0BC4142}">
          <p14:sldIdLst>
            <p14:sldId id="258"/>
            <p14:sldId id="339"/>
            <p14:sldId id="340"/>
          </p14:sldIdLst>
        </p14:section>
        <p14:section name="Download" id="{24337197-6FE9-47C8-9C5C-2B4645002723}">
          <p14:sldIdLst>
            <p14:sldId id="341"/>
            <p14:sldId id="337"/>
            <p14:sldId id="336"/>
            <p14:sldId id="338"/>
          </p14:sldIdLst>
        </p14:section>
        <p14:section name="Active Users" id="{32E720DB-299D-4A07-9C81-B1148FD41DA5}">
          <p14:sldIdLst>
            <p14:sldId id="314"/>
            <p14:sldId id="260"/>
            <p14:sldId id="321"/>
            <p14:sldId id="322"/>
          </p14:sldIdLst>
        </p14:section>
        <p14:section name="Journey" id="{45D1CE8A-2102-4048-840E-CD95A2E4B460}">
          <p14:sldIdLst>
            <p14:sldId id="323"/>
            <p14:sldId id="325"/>
            <p14:sldId id="324"/>
            <p14:sldId id="326"/>
          </p14:sldIdLst>
        </p14:section>
        <p14:section name="Running time" id="{8420EA37-B83F-4BE7-A988-6DAB1376885B}">
          <p14:sldIdLst>
            <p14:sldId id="327"/>
            <p14:sldId id="356"/>
            <p14:sldId id="328"/>
            <p14:sldId id="330"/>
          </p14:sldIdLst>
        </p14:section>
        <p14:section name="User Activity" id="{188DFB22-8830-497D-B48B-9A24955E9C96}">
          <p14:sldIdLst>
            <p14:sldId id="342"/>
            <p14:sldId id="343"/>
            <p14:sldId id="350"/>
            <p14:sldId id="345"/>
          </p14:sldIdLst>
        </p14:section>
        <p14:section name="User preferred charging destination" id="{2C19DBFA-A331-48F3-AB2E-95D06D14504E}">
          <p14:sldIdLst>
            <p14:sldId id="346"/>
            <p14:sldId id="347"/>
            <p14:sldId id="348"/>
            <p14:sldId id="349"/>
          </p14:sldIdLst>
        </p14:section>
        <p14:section name="Recommended models" id="{2914654E-BC1A-4B5A-B87E-0141869E1B33}">
          <p14:sldIdLst>
            <p14:sldId id="331"/>
            <p14:sldId id="333"/>
            <p14:sldId id="332"/>
            <p14:sldId id="334"/>
          </p14:sldIdLst>
        </p14:section>
        <p14:section name="Incident" id="{FABBADB5-2D25-48D1-BDCE-47E644218AFC}">
          <p14:sldIdLst>
            <p14:sldId id="352"/>
            <p14:sldId id="353"/>
            <p14:sldId id="374"/>
            <p14:sldId id="354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  <p:cmAuthor id="2" name="叶 先生" initials="叶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061D"/>
    <a:srgbClr val="4C4C4C"/>
    <a:srgbClr val="C00000"/>
    <a:srgbClr val="C10303"/>
    <a:srgbClr val="575757"/>
    <a:srgbClr val="E2BCBF"/>
    <a:srgbClr val="BB0A30"/>
    <a:srgbClr val="C6C6C6"/>
    <a:srgbClr val="89898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56" autoAdjust="0"/>
    <p:restoredTop sz="96763" autoAdjust="0"/>
  </p:normalViewPr>
  <p:slideViewPr>
    <p:cSldViewPr showGuides="1">
      <p:cViewPr varScale="1">
        <p:scale>
          <a:sx n="62" d="100"/>
          <a:sy n="62" d="100"/>
        </p:scale>
        <p:origin x="48" y="156"/>
      </p:cViewPr>
      <p:guideLst>
        <p:guide orient="horz" pos="912"/>
        <p:guide orient="horz" pos="3551"/>
        <p:guide pos="3898"/>
        <p:guide pos="438"/>
        <p:guide orient="horz" pos="4125"/>
        <p:guide orient="horz" pos="1344"/>
        <p:guide pos="3774"/>
        <p:guide pos="7471"/>
        <p:guide pos="6600"/>
        <p:guide orient="horz" pos="672"/>
        <p:guide orient="horz" pos="2160"/>
      </p:guideLst>
    </p:cSldViewPr>
  </p:slideViewPr>
  <p:outlineViewPr>
    <p:cViewPr>
      <p:scale>
        <a:sx n="33" d="100"/>
        <a:sy n="33" d="100"/>
      </p:scale>
      <p:origin x="0" y="229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492" y="-96"/>
      </p:cViewPr>
      <p:guideLst>
        <p:guide orient="horz" pos="2880"/>
        <p:guide pos="219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4" Type="http://schemas.openxmlformats.org/officeDocument/2006/relationships/tags" Target="tags/tag79.xml"/><Relationship Id="rId43" Type="http://schemas.openxmlformats.org/officeDocument/2006/relationships/commentAuthors" Target="commentAuthors.xml"/><Relationship Id="rId42" Type="http://schemas.openxmlformats.org/officeDocument/2006/relationships/tableStyles" Target="tableStyles.xml"/><Relationship Id="rId41" Type="http://schemas.openxmlformats.org/officeDocument/2006/relationships/viewProps" Target="viewProps.xml"/><Relationship Id="rId40" Type="http://schemas.openxmlformats.org/officeDocument/2006/relationships/presProps" Target="presProps.xml"/><Relationship Id="rId4" Type="http://schemas.openxmlformats.org/officeDocument/2006/relationships/slide" Target="slides/slide2.xml"/><Relationship Id="rId39" Type="http://schemas.openxmlformats.org/officeDocument/2006/relationships/handoutMaster" Target="handoutMasters/handoutMaster1.xml"/><Relationship Id="rId38" Type="http://schemas.openxmlformats.org/officeDocument/2006/relationships/slide" Target="slides/slide35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4" Type="http://schemas.microsoft.com/office/2011/relationships/chartColorStyle" Target="colors1.xml"/><Relationship Id="rId3" Type="http://schemas.microsoft.com/office/2011/relationships/chartStyle" Target="style1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Workbook1.xlsx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package" Target="../embeddings/Workbook10.xlsx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ColorStyle" Target="colors11.xml"/><Relationship Id="rId2" Type="http://schemas.microsoft.com/office/2011/relationships/chartStyle" Target="style11.xml"/><Relationship Id="rId1" Type="http://schemas.openxmlformats.org/officeDocument/2006/relationships/package" Target="../embeddings/Workbook11.xlsx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microsoft.com/office/2011/relationships/chartStyle" Target="style12.xml"/><Relationship Id="rId1" Type="http://schemas.openxmlformats.org/officeDocument/2006/relationships/package" Target="../embeddings/Workbook12.xlsx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ColorStyle" Target="colors13.xml"/><Relationship Id="rId2" Type="http://schemas.microsoft.com/office/2011/relationships/chartStyle" Target="style13.xml"/><Relationship Id="rId1" Type="http://schemas.openxmlformats.org/officeDocument/2006/relationships/package" Target="../embeddings/Workbook13.xlsx"/></Relationships>
</file>

<file path=ppt/charts/_rels/chart14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microsoft.com/office/2011/relationships/chartStyle" Target="style14.xml"/><Relationship Id="rId1" Type="http://schemas.openxmlformats.org/officeDocument/2006/relationships/package" Target="../embeddings/Workbook14.xlsx"/></Relationships>
</file>

<file path=ppt/charts/_rels/chart15.xml.rels><?xml version="1.0" encoding="UTF-8" standalone="yes"?>
<Relationships xmlns="http://schemas.openxmlformats.org/package/2006/relationships"><Relationship Id="rId3" Type="http://schemas.microsoft.com/office/2011/relationships/chartColorStyle" Target="colors15.xml"/><Relationship Id="rId2" Type="http://schemas.microsoft.com/office/2011/relationships/chartStyle" Target="style15.xml"/><Relationship Id="rId1" Type="http://schemas.openxmlformats.org/officeDocument/2006/relationships/package" Target="../embeddings/Workbook15.xlsx"/></Relationships>
</file>

<file path=ppt/charts/_rels/chart16.xml.rels><?xml version="1.0" encoding="UTF-8" standalone="yes"?>
<Relationships xmlns="http://schemas.openxmlformats.org/package/2006/relationships"><Relationship Id="rId3" Type="http://schemas.microsoft.com/office/2011/relationships/chartColorStyle" Target="colors16.xml"/><Relationship Id="rId2" Type="http://schemas.microsoft.com/office/2011/relationships/chartStyle" Target="style16.xml"/><Relationship Id="rId1" Type="http://schemas.openxmlformats.org/officeDocument/2006/relationships/package" Target="../embeddings/Workbook16.xlsx"/></Relationships>
</file>

<file path=ppt/charts/_rels/chart17.xml.rels><?xml version="1.0" encoding="UTF-8" standalone="yes"?>
<Relationships xmlns="http://schemas.openxmlformats.org/package/2006/relationships"><Relationship Id="rId3" Type="http://schemas.microsoft.com/office/2011/relationships/chartColorStyle" Target="colors17.xml"/><Relationship Id="rId2" Type="http://schemas.microsoft.com/office/2011/relationships/chartStyle" Target="style17.xml"/><Relationship Id="rId1" Type="http://schemas.openxmlformats.org/officeDocument/2006/relationships/package" Target="../embeddings/Workbook17.xlsx"/></Relationships>
</file>

<file path=ppt/charts/_rels/chart18.xml.rels><?xml version="1.0" encoding="UTF-8" standalone="yes"?>
<Relationships xmlns="http://schemas.openxmlformats.org/package/2006/relationships"><Relationship Id="rId3" Type="http://schemas.microsoft.com/office/2011/relationships/chartColorStyle" Target="colors18.xml"/><Relationship Id="rId2" Type="http://schemas.microsoft.com/office/2011/relationships/chartStyle" Target="style18.xml"/><Relationship Id="rId1" Type="http://schemas.openxmlformats.org/officeDocument/2006/relationships/package" Target="../embeddings/Workbook18.xlsx"/></Relationships>
</file>

<file path=ppt/charts/_rels/chart19.xml.rels><?xml version="1.0" encoding="UTF-8" standalone="yes"?>
<Relationships xmlns="http://schemas.openxmlformats.org/package/2006/relationships"><Relationship Id="rId3" Type="http://schemas.microsoft.com/office/2011/relationships/chartColorStyle" Target="colors19.xml"/><Relationship Id="rId2" Type="http://schemas.microsoft.com/office/2011/relationships/chartStyle" Target="style19.xml"/><Relationship Id="rId1" Type="http://schemas.openxmlformats.org/officeDocument/2006/relationships/package" Target="../embeddings/Workbook19.xlsx"/></Relationships>
</file>

<file path=ppt/charts/_rels/chart2.xml.rels><?xml version="1.0" encoding="UTF-8" standalone="yes"?>
<Relationships xmlns="http://schemas.openxmlformats.org/package/2006/relationships"><Relationship Id="rId4" Type="http://schemas.microsoft.com/office/2011/relationships/chartColorStyle" Target="colors2.xml"/><Relationship Id="rId3" Type="http://schemas.microsoft.com/office/2011/relationships/chartStyle" Target="style2.xml"/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Workbook2.xlsx"/></Relationships>
</file>

<file path=ppt/charts/_rels/chart20.xml.rels><?xml version="1.0" encoding="UTF-8" standalone="yes"?>
<Relationships xmlns="http://schemas.openxmlformats.org/package/2006/relationships"><Relationship Id="rId3" Type="http://schemas.microsoft.com/office/2011/relationships/chartColorStyle" Target="colors20.xml"/><Relationship Id="rId2" Type="http://schemas.microsoft.com/office/2011/relationships/chartStyle" Target="style20.xml"/><Relationship Id="rId1" Type="http://schemas.openxmlformats.org/officeDocument/2006/relationships/package" Target="../embeddings/Workbook20.xlsx"/></Relationships>
</file>

<file path=ppt/charts/_rels/chart21.xml.rels><?xml version="1.0" encoding="UTF-8" standalone="yes"?>
<Relationships xmlns="http://schemas.openxmlformats.org/package/2006/relationships"><Relationship Id="rId3" Type="http://schemas.microsoft.com/office/2011/relationships/chartColorStyle" Target="colors21.xml"/><Relationship Id="rId2" Type="http://schemas.microsoft.com/office/2011/relationships/chartStyle" Target="style21.xml"/><Relationship Id="rId1" Type="http://schemas.openxmlformats.org/officeDocument/2006/relationships/package" Target="../embeddings/Workbook21.xlsx"/></Relationships>
</file>

<file path=ppt/charts/_rels/chart22.xml.rels><?xml version="1.0" encoding="UTF-8" standalone="yes"?>
<Relationships xmlns="http://schemas.openxmlformats.org/package/2006/relationships"><Relationship Id="rId3" Type="http://schemas.microsoft.com/office/2011/relationships/chartColorStyle" Target="colors22.xml"/><Relationship Id="rId2" Type="http://schemas.microsoft.com/office/2011/relationships/chartStyle" Target="style22.xml"/><Relationship Id="rId1" Type="http://schemas.openxmlformats.org/officeDocument/2006/relationships/package" Target="../embeddings/Workbook22.xlsx"/></Relationships>
</file>

<file path=ppt/charts/_rels/chart23.xml.rels><?xml version="1.0" encoding="UTF-8" standalone="yes"?>
<Relationships xmlns="http://schemas.openxmlformats.org/package/2006/relationships"><Relationship Id="rId3" Type="http://schemas.microsoft.com/office/2011/relationships/chartColorStyle" Target="colors23.xml"/><Relationship Id="rId2" Type="http://schemas.microsoft.com/office/2011/relationships/chartStyle" Target="style23.xml"/><Relationship Id="rId1" Type="http://schemas.openxmlformats.org/officeDocument/2006/relationships/package" Target="../embeddings/Workbook23.xlsx"/></Relationships>
</file>

<file path=ppt/charts/_rels/chart24.xml.rels><?xml version="1.0" encoding="UTF-8" standalone="yes"?>
<Relationships xmlns="http://schemas.openxmlformats.org/package/2006/relationships"><Relationship Id="rId3" Type="http://schemas.microsoft.com/office/2011/relationships/chartColorStyle" Target="colors24.xml"/><Relationship Id="rId2" Type="http://schemas.microsoft.com/office/2011/relationships/chartStyle" Target="style24.xml"/><Relationship Id="rId1" Type="http://schemas.openxmlformats.org/officeDocument/2006/relationships/package" Target="../embeddings/Workbook24.xlsx"/></Relationships>
</file>

<file path=ppt/charts/_rels/chart25.xml.rels><?xml version="1.0" encoding="UTF-8" standalone="yes"?>
<Relationships xmlns="http://schemas.openxmlformats.org/package/2006/relationships"><Relationship Id="rId3" Type="http://schemas.microsoft.com/office/2011/relationships/chartColorStyle" Target="colors25.xml"/><Relationship Id="rId2" Type="http://schemas.microsoft.com/office/2011/relationships/chartStyle" Target="style25.xml"/><Relationship Id="rId1" Type="http://schemas.openxmlformats.org/officeDocument/2006/relationships/package" Target="../embeddings/Workbook25.xlsx"/></Relationships>
</file>

<file path=ppt/charts/_rels/chart26.xml.rels><?xml version="1.0" encoding="UTF-8" standalone="yes"?>
<Relationships xmlns="http://schemas.openxmlformats.org/package/2006/relationships"><Relationship Id="rId3" Type="http://schemas.microsoft.com/office/2011/relationships/chartColorStyle" Target="colors26.xml"/><Relationship Id="rId2" Type="http://schemas.microsoft.com/office/2011/relationships/chartStyle" Target="style26.xml"/><Relationship Id="rId1" Type="http://schemas.openxmlformats.org/officeDocument/2006/relationships/package" Target="../embeddings/Workbook26.xlsx"/></Relationships>
</file>

<file path=ppt/charts/_rels/chart27.xml.rels><?xml version="1.0" encoding="UTF-8" standalone="yes"?>
<Relationships xmlns="http://schemas.openxmlformats.org/package/2006/relationships"><Relationship Id="rId3" Type="http://schemas.microsoft.com/office/2011/relationships/chartColorStyle" Target="colors27.xml"/><Relationship Id="rId2" Type="http://schemas.microsoft.com/office/2011/relationships/chartStyle" Target="style27.xml"/><Relationship Id="rId1" Type="http://schemas.openxmlformats.org/officeDocument/2006/relationships/package" Target="../embeddings/Workbook27.xlsx"/></Relationships>
</file>

<file path=ppt/charts/_rels/chart28.xml.rels><?xml version="1.0" encoding="UTF-8" standalone="yes"?>
<Relationships xmlns="http://schemas.openxmlformats.org/package/2006/relationships"><Relationship Id="rId3" Type="http://schemas.microsoft.com/office/2011/relationships/chartColorStyle" Target="colors28.xml"/><Relationship Id="rId2" Type="http://schemas.microsoft.com/office/2011/relationships/chartStyle" Target="style28.xml"/><Relationship Id="rId1" Type="http://schemas.openxmlformats.org/officeDocument/2006/relationships/package" Target="../embeddings/Workbook28.xlsx"/></Relationships>
</file>

<file path=ppt/charts/_rels/chart29.xml.rels><?xml version="1.0" encoding="UTF-8" standalone="yes"?>
<Relationships xmlns="http://schemas.openxmlformats.org/package/2006/relationships"><Relationship Id="rId3" Type="http://schemas.microsoft.com/office/2011/relationships/chartColorStyle" Target="colors29.xml"/><Relationship Id="rId2" Type="http://schemas.microsoft.com/office/2011/relationships/chartStyle" Target="style29.xml"/><Relationship Id="rId1" Type="http://schemas.openxmlformats.org/officeDocument/2006/relationships/package" Target="../embeddings/Workbook29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Workbook3.xlsx"/></Relationships>
</file>

<file path=ppt/charts/_rels/chart30.xml.rels><?xml version="1.0" encoding="UTF-8" standalone="yes"?>
<Relationships xmlns="http://schemas.openxmlformats.org/package/2006/relationships"><Relationship Id="rId3" Type="http://schemas.microsoft.com/office/2011/relationships/chartColorStyle" Target="colors30.xml"/><Relationship Id="rId2" Type="http://schemas.microsoft.com/office/2011/relationships/chartStyle" Target="style30.xml"/><Relationship Id="rId1" Type="http://schemas.openxmlformats.org/officeDocument/2006/relationships/package" Target="../embeddings/Workbook30.xlsx"/></Relationships>
</file>

<file path=ppt/charts/_rels/chart31.xml.rels><?xml version="1.0" encoding="UTF-8" standalone="yes"?>
<Relationships xmlns="http://schemas.openxmlformats.org/package/2006/relationships"><Relationship Id="rId3" Type="http://schemas.microsoft.com/office/2011/relationships/chartColorStyle" Target="colors31.xml"/><Relationship Id="rId2" Type="http://schemas.microsoft.com/office/2011/relationships/chartStyle" Target="style31.xml"/><Relationship Id="rId1" Type="http://schemas.openxmlformats.org/officeDocument/2006/relationships/package" Target="../embeddings/Workbook31.xlsx"/></Relationships>
</file>

<file path=ppt/charts/_rels/chart32.xml.rels><?xml version="1.0" encoding="UTF-8" standalone="yes"?>
<Relationships xmlns="http://schemas.openxmlformats.org/package/2006/relationships"><Relationship Id="rId3" Type="http://schemas.microsoft.com/office/2011/relationships/chartColorStyle" Target="colors32.xml"/><Relationship Id="rId2" Type="http://schemas.microsoft.com/office/2011/relationships/chartStyle" Target="style32.xml"/><Relationship Id="rId1" Type="http://schemas.openxmlformats.org/officeDocument/2006/relationships/package" Target="../embeddings/Workbook32.xlsx"/></Relationships>
</file>

<file path=ppt/charts/_rels/chart33.xml.rels><?xml version="1.0" encoding="UTF-8" standalone="yes"?>
<Relationships xmlns="http://schemas.openxmlformats.org/package/2006/relationships"><Relationship Id="rId3" Type="http://schemas.microsoft.com/office/2011/relationships/chartColorStyle" Target="colors33.xml"/><Relationship Id="rId2" Type="http://schemas.microsoft.com/office/2011/relationships/chartStyle" Target="style33.xml"/><Relationship Id="rId1" Type="http://schemas.openxmlformats.org/officeDocument/2006/relationships/package" Target="../embeddings/Workbook33.xlsx"/></Relationships>
</file>

<file path=ppt/charts/_rels/chart34.xml.rels><?xml version="1.0" encoding="UTF-8" standalone="yes"?>
<Relationships xmlns="http://schemas.openxmlformats.org/package/2006/relationships"><Relationship Id="rId3" Type="http://schemas.microsoft.com/office/2011/relationships/chartColorStyle" Target="colors34.xml"/><Relationship Id="rId2" Type="http://schemas.microsoft.com/office/2011/relationships/chartStyle" Target="style34.xml"/><Relationship Id="rId1" Type="http://schemas.openxmlformats.org/officeDocument/2006/relationships/package" Target="../embeddings/Workbook34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35.xlsx"/></Relationships>
</file>

<file path=ppt/charts/_rels/chart36.xml.rels><?xml version="1.0" encoding="UTF-8" standalone="yes"?>
<Relationships xmlns="http://schemas.openxmlformats.org/package/2006/relationships"><Relationship Id="rId3" Type="http://schemas.microsoft.com/office/2011/relationships/chartColorStyle" Target="colors35.xml"/><Relationship Id="rId2" Type="http://schemas.microsoft.com/office/2011/relationships/chartStyle" Target="style35.xml"/><Relationship Id="rId1" Type="http://schemas.openxmlformats.org/officeDocument/2006/relationships/package" Target="../embeddings/Workbook36.xlsx"/></Relationships>
</file>

<file path=ppt/charts/_rels/chart37.xml.rels><?xml version="1.0" encoding="UTF-8" standalone="yes"?>
<Relationships xmlns="http://schemas.openxmlformats.org/package/2006/relationships"><Relationship Id="rId3" Type="http://schemas.microsoft.com/office/2011/relationships/chartColorStyle" Target="colors36.xml"/><Relationship Id="rId2" Type="http://schemas.microsoft.com/office/2011/relationships/chartStyle" Target="style36.xml"/><Relationship Id="rId1" Type="http://schemas.openxmlformats.org/officeDocument/2006/relationships/package" Target="../embeddings/Workbook37.xlsx"/></Relationships>
</file>

<file path=ppt/charts/_rels/chart38.xml.rels><?xml version="1.0" encoding="UTF-8" standalone="yes"?>
<Relationships xmlns="http://schemas.openxmlformats.org/package/2006/relationships"><Relationship Id="rId3" Type="http://schemas.microsoft.com/office/2011/relationships/chartColorStyle" Target="colors37.xml"/><Relationship Id="rId2" Type="http://schemas.microsoft.com/office/2011/relationships/chartStyle" Target="style37.xml"/><Relationship Id="rId1" Type="http://schemas.openxmlformats.org/officeDocument/2006/relationships/package" Target="../embeddings/Workbook38.xlsx"/></Relationships>
</file>

<file path=ppt/charts/_rels/chart39.xml.rels><?xml version="1.0" encoding="UTF-8" standalone="yes"?>
<Relationships xmlns="http://schemas.openxmlformats.org/package/2006/relationships"><Relationship Id="rId3" Type="http://schemas.microsoft.com/office/2011/relationships/chartColorStyle" Target="colors38.xml"/><Relationship Id="rId2" Type="http://schemas.microsoft.com/office/2011/relationships/chartStyle" Target="style38.xml"/><Relationship Id="rId1" Type="http://schemas.openxmlformats.org/officeDocument/2006/relationships/package" Target="../embeddings/Workbook39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Workbook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package" Target="../embeddings/Workbook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Workbook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package" Target="../embeddings/Workbook7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Workbook8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package" Target="../embeddings/Workbook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13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9:$A$105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B$99:$B$105</c:f>
              <c:numCache>
                <c:formatCode>General</c:formatCode>
                <c:ptCount val="7"/>
                <c:pt idx="0">
                  <c:v>3</c:v>
                </c:pt>
                <c:pt idx="1">
                  <c:v>4</c:v>
                </c:pt>
                <c:pt idx="2">
                  <c:v>1</c:v>
                </c:pt>
                <c:pt idx="3">
                  <c:v>3</c:v>
                </c:pt>
                <c:pt idx="4">
                  <c:v>1</c:v>
                </c:pt>
                <c:pt idx="5">
                  <c:v>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9:$A$105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C$99:$C$105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99:$A$105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D$99:$D$105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99:$A$105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E$99:$E$105</c:f>
              <c:numCache>
                <c:formatCode>0%</c:formatCode>
                <c:ptCount val="7"/>
                <c:pt idx="0">
                  <c:v>0.5</c:v>
                </c:pt>
                <c:pt idx="1">
                  <c:v>0.666666666666667</c:v>
                </c:pt>
                <c:pt idx="2">
                  <c:v>-0.6</c:v>
                </c:pt>
                <c:pt idx="3">
                  <c:v>1.5</c:v>
                </c:pt>
                <c:pt idx="4">
                  <c:v>-0.8</c:v>
                </c:pt>
                <c:pt idx="5">
                  <c:v>1</c:v>
                </c:pt>
                <c:pt idx="6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Active User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  <c:pt idx="47">
                  <c:v>29</c:v>
                </c:pt>
                <c:pt idx="48">
                  <c:v>16</c:v>
                </c:pt>
                <c:pt idx="49">
                  <c:v>20</c:v>
                </c:pt>
                <c:pt idx="50">
                  <c:v>1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5967744"/>
        <c:axId val="2059696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12fea8dc-d98a-49ac-922b-d354fb75fa50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cee36e96-6047-48e6-ae75-5eb9d2086d69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C$2:$C$52</c:f>
              <c:numCache>
                <c:formatCode>0</c:formatCode>
                <c:ptCount val="51"/>
                <c:pt idx="0">
                  <c:v>6</c:v>
                </c:pt>
                <c:pt idx="1">
                  <c:v>34.5</c:v>
                </c:pt>
                <c:pt idx="2">
                  <c:v>34</c:v>
                </c:pt>
                <c:pt idx="3">
                  <c:v>33.5</c:v>
                </c:pt>
                <c:pt idx="4">
                  <c:v>34.2</c:v>
                </c:pt>
                <c:pt idx="5">
                  <c:v>33.1666666666667</c:v>
                </c:pt>
                <c:pt idx="6">
                  <c:v>34.2857142857143</c:v>
                </c:pt>
                <c:pt idx="7">
                  <c:v>34.5</c:v>
                </c:pt>
                <c:pt idx="8">
                  <c:v>34.8888888888889</c:v>
                </c:pt>
                <c:pt idx="9">
                  <c:v>44.5</c:v>
                </c:pt>
                <c:pt idx="10">
                  <c:v>45.4545454545455</c:v>
                </c:pt>
                <c:pt idx="11">
                  <c:v>44.6666666666667</c:v>
                </c:pt>
                <c:pt idx="12">
                  <c:v>43.8461538461538</c:v>
                </c:pt>
                <c:pt idx="13">
                  <c:v>42.8571428571429</c:v>
                </c:pt>
                <c:pt idx="14">
                  <c:v>41.3333333333333</c:v>
                </c:pt>
                <c:pt idx="15">
                  <c:v>40.25</c:v>
                </c:pt>
                <c:pt idx="16">
                  <c:v>38.9411764705882</c:v>
                </c:pt>
                <c:pt idx="17">
                  <c:v>38.6111111111111</c:v>
                </c:pt>
                <c:pt idx="18">
                  <c:v>37.1578947368421</c:v>
                </c:pt>
                <c:pt idx="19">
                  <c:v>36.6</c:v>
                </c:pt>
                <c:pt idx="20">
                  <c:v>36.3333333333333</c:v>
                </c:pt>
                <c:pt idx="21">
                  <c:v>36.1818181818182</c:v>
                </c:pt>
                <c:pt idx="22">
                  <c:v>35.8260869565217</c:v>
                </c:pt>
                <c:pt idx="23">
                  <c:v>35.5833333333333</c:v>
                </c:pt>
                <c:pt idx="24">
                  <c:v>35.36</c:v>
                </c:pt>
                <c:pt idx="25">
                  <c:v>34.6923076923077</c:v>
                </c:pt>
                <c:pt idx="26">
                  <c:v>34.1481481481481</c:v>
                </c:pt>
                <c:pt idx="27">
                  <c:v>33.4642857142857</c:v>
                </c:pt>
                <c:pt idx="28">
                  <c:v>32.9655172413793</c:v>
                </c:pt>
                <c:pt idx="29">
                  <c:v>32.8666666666667</c:v>
                </c:pt>
                <c:pt idx="30">
                  <c:v>32.7096774193548</c:v>
                </c:pt>
                <c:pt idx="31">
                  <c:v>32.53125</c:v>
                </c:pt>
                <c:pt idx="32">
                  <c:v>32.4545454545455</c:v>
                </c:pt>
                <c:pt idx="33">
                  <c:v>32.2058823529412</c:v>
                </c:pt>
                <c:pt idx="34">
                  <c:v>32.1142857142857</c:v>
                </c:pt>
                <c:pt idx="35">
                  <c:v>31.8055555555556</c:v>
                </c:pt>
                <c:pt idx="36">
                  <c:v>31.7027027027027</c:v>
                </c:pt>
                <c:pt idx="37">
                  <c:v>31.3157894736842</c:v>
                </c:pt>
                <c:pt idx="38">
                  <c:v>31.2307692307692</c:v>
                </c:pt>
                <c:pt idx="39">
                  <c:v>30.975</c:v>
                </c:pt>
                <c:pt idx="40">
                  <c:v>30.5609756097561</c:v>
                </c:pt>
                <c:pt idx="41">
                  <c:v>30.452380952381</c:v>
                </c:pt>
                <c:pt idx="42">
                  <c:v>30.3255813953488</c:v>
                </c:pt>
                <c:pt idx="43">
                  <c:v>29.9545454545455</c:v>
                </c:pt>
                <c:pt idx="44">
                  <c:v>29.8444444444444</c:v>
                </c:pt>
                <c:pt idx="45">
                  <c:v>29.7173913043478</c:v>
                </c:pt>
                <c:pt idx="46">
                  <c:v>29.6808510638298</c:v>
                </c:pt>
                <c:pt idx="47">
                  <c:v>29.6666666666667</c:v>
                </c:pt>
                <c:pt idx="48">
                  <c:v>29.3877551020408</c:v>
                </c:pt>
                <c:pt idx="49">
                  <c:v>29.2</c:v>
                </c:pt>
                <c:pt idx="50">
                  <c:v>28.980392156862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967744"/>
        <c:axId val="205969664"/>
      </c:lineChart>
      <c:dateAx>
        <c:axId val="20596774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9664"/>
        <c:crosses val="autoZero"/>
        <c:auto val="0"/>
        <c:lblAlgn val="ctr"/>
        <c:lblOffset val="100"/>
        <c:baseTimeUnit val="days"/>
      </c:dateAx>
      <c:valAx>
        <c:axId val="205969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7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959595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Active Users</a:t>
            </a:r>
            <a:endParaRPr lang="zh-CN" altLang="zh-CN" sz="180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58319248826291"/>
          <c:y val="0.187952898550725"/>
          <c:w val="0.801219344742289"/>
          <c:h val="0.5344021739130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  <c:pt idx="47">
                  <c:v>29</c:v>
                </c:pt>
                <c:pt idx="48">
                  <c:v>16</c:v>
                </c:pt>
                <c:pt idx="49">
                  <c:v>20</c:v>
                </c:pt>
                <c:pt idx="50">
                  <c:v>1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791040"/>
        <c:axId val="20680704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8"/>
              <c:layout>
                <c:manualLayout>
                  <c:x val="-0.029407415622343"/>
                  <c:y val="-0.028559853931302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C$2:$C$52</c:f>
              <c:numCache>
                <c:formatCode>General</c:formatCode>
                <c:ptCount val="51"/>
                <c:pt idx="0">
                  <c:v>3</c:v>
                </c:pt>
                <c:pt idx="1">
                  <c:v>9</c:v>
                </c:pt>
                <c:pt idx="2" c:formatCode="0">
                  <c:v>4.71428571428571</c:v>
                </c:pt>
                <c:pt idx="3" c:formatCode="0">
                  <c:v>4.57142857142857</c:v>
                </c:pt>
                <c:pt idx="4" c:formatCode="0">
                  <c:v>5.28571428571429</c:v>
                </c:pt>
                <c:pt idx="5" c:formatCode="0">
                  <c:v>4</c:v>
                </c:pt>
                <c:pt idx="6" c:formatCode="0">
                  <c:v>5.85714285714286</c:v>
                </c:pt>
                <c:pt idx="7" c:formatCode="0">
                  <c:v>5.14285714285714</c:v>
                </c:pt>
                <c:pt idx="8" c:formatCode="0">
                  <c:v>5.42857142857143</c:v>
                </c:pt>
                <c:pt idx="9" c:formatCode="0">
                  <c:v>18.7142857142857</c:v>
                </c:pt>
                <c:pt idx="10" c:formatCode="0">
                  <c:v>7.85714285714286</c:v>
                </c:pt>
                <c:pt idx="11" c:formatCode="0">
                  <c:v>5.14285714285714</c:v>
                </c:pt>
                <c:pt idx="12" c:formatCode="0">
                  <c:v>4.85714285714286</c:v>
                </c:pt>
                <c:pt idx="13" c:formatCode="0">
                  <c:v>4.28571428571429</c:v>
                </c:pt>
                <c:pt idx="14" c:formatCode="0">
                  <c:v>2.85714285714286</c:v>
                </c:pt>
                <c:pt idx="15" c:formatCode="0">
                  <c:v>3.42857142857143</c:v>
                </c:pt>
                <c:pt idx="16" c:formatCode="0">
                  <c:v>2.57142857142857</c:v>
                </c:pt>
                <c:pt idx="17" c:formatCode="0">
                  <c:v>4.71428571428571</c:v>
                </c:pt>
                <c:pt idx="18" c:formatCode="0">
                  <c:v>1.57142857142857</c:v>
                </c:pt>
                <c:pt idx="19" c:formatCode="0">
                  <c:v>3.71428571428571</c:v>
                </c:pt>
                <c:pt idx="20" c:formatCode="0">
                  <c:v>4.42857142857143</c:v>
                </c:pt>
                <c:pt idx="21" c:formatCode="0">
                  <c:v>4.71428571428571</c:v>
                </c:pt>
                <c:pt idx="22" c:formatCode="0">
                  <c:v>4</c:v>
                </c:pt>
                <c:pt idx="23" c:formatCode="0">
                  <c:v>4.28571428571429</c:v>
                </c:pt>
                <c:pt idx="24" c:formatCode="0">
                  <c:v>4.28571428571429</c:v>
                </c:pt>
                <c:pt idx="25" c:formatCode="0">
                  <c:v>2.57142857142857</c:v>
                </c:pt>
                <c:pt idx="26" c:formatCode="0">
                  <c:v>2.85714285714286</c:v>
                </c:pt>
                <c:pt idx="27" c:formatCode="0">
                  <c:v>2.14285714285714</c:v>
                </c:pt>
                <c:pt idx="28" c:formatCode="0">
                  <c:v>2.71428571428571</c:v>
                </c:pt>
                <c:pt idx="29" c:formatCode="0">
                  <c:v>4.28571428571429</c:v>
                </c:pt>
                <c:pt idx="30" c:formatCode="0">
                  <c:v>4</c:v>
                </c:pt>
                <c:pt idx="31" c:formatCode="0">
                  <c:v>3.85714285714286</c:v>
                </c:pt>
                <c:pt idx="32" c:formatCode="0">
                  <c:v>4.28571428571429</c:v>
                </c:pt>
                <c:pt idx="33" c:formatCode="0">
                  <c:v>3.42857142857143</c:v>
                </c:pt>
                <c:pt idx="34" c:formatCode="0">
                  <c:v>4.14285714285714</c:v>
                </c:pt>
                <c:pt idx="35" c:formatCode="0">
                  <c:v>3</c:v>
                </c:pt>
                <c:pt idx="36" c:formatCode="0">
                  <c:v>4</c:v>
                </c:pt>
                <c:pt idx="37" c:formatCode="0">
                  <c:v>2.42857142857143</c:v>
                </c:pt>
                <c:pt idx="38" c:formatCode="0">
                  <c:v>4</c:v>
                </c:pt>
                <c:pt idx="39" c:formatCode="0">
                  <c:v>3</c:v>
                </c:pt>
                <c:pt idx="40" c:formatCode="0">
                  <c:v>2</c:v>
                </c:pt>
                <c:pt idx="41" c:formatCode="0">
                  <c:v>3.71428571428571</c:v>
                </c:pt>
                <c:pt idx="42" c:formatCode="0">
                  <c:v>3.57142857142857</c:v>
                </c:pt>
                <c:pt idx="43" c:formatCode="0">
                  <c:v>2</c:v>
                </c:pt>
                <c:pt idx="44" c:formatCode="0">
                  <c:v>3.57142857142857</c:v>
                </c:pt>
                <c:pt idx="45" c:formatCode="0">
                  <c:v>3.42857142857143</c:v>
                </c:pt>
                <c:pt idx="46" c:formatCode="0">
                  <c:v>4</c:v>
                </c:pt>
                <c:pt idx="47" c:formatCode="0">
                  <c:v>4.14285714285714</c:v>
                </c:pt>
                <c:pt idx="48" c:formatCode="0">
                  <c:v>2.28571428571429</c:v>
                </c:pt>
                <c:pt idx="49" c:formatCode="0">
                  <c:v>2.85714285714286</c:v>
                </c:pt>
                <c:pt idx="50" c:formatCode="0">
                  <c:v>2.571428571428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791040"/>
        <c:axId val="206807040"/>
      </c:lineChart>
      <c:dateAx>
        <c:axId val="206791040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07040"/>
        <c:crosses val="autoZero"/>
        <c:auto val="0"/>
        <c:lblAlgn val="ctr"/>
        <c:lblOffset val="100"/>
        <c:baseTimeUnit val="days"/>
      </c:dateAx>
      <c:valAx>
        <c:axId val="206807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791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17</c:v>
                </c:pt>
                <c:pt idx="1">
                  <c:v>154</c:v>
                </c:pt>
                <c:pt idx="2">
                  <c:v>265</c:v>
                </c:pt>
                <c:pt idx="3">
                  <c:v>115</c:v>
                </c:pt>
                <c:pt idx="4">
                  <c:v>110</c:v>
                </c:pt>
                <c:pt idx="5">
                  <c:v>124</c:v>
                </c:pt>
                <c:pt idx="6">
                  <c:v>89</c:v>
                </c:pt>
                <c:pt idx="7">
                  <c:v>120</c:v>
                </c:pt>
                <c:pt idx="8">
                  <c:v>106</c:v>
                </c:pt>
                <c:pt idx="9">
                  <c:v>98</c:v>
                </c:pt>
                <c:pt idx="10">
                  <c:v>89</c:v>
                </c:pt>
                <c:pt idx="11">
                  <c:v>9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7108352"/>
        <c:axId val="20711872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1.31623931623932</c:v>
                </c:pt>
                <c:pt idx="2" c:formatCode="0.00%">
                  <c:v>0.977859778597786</c:v>
                </c:pt>
                <c:pt idx="3" c:formatCode="0.00%">
                  <c:v>0.21455223880597</c:v>
                </c:pt>
                <c:pt idx="4" c:formatCode="0.00%">
                  <c:v>0.168970814132104</c:v>
                </c:pt>
                <c:pt idx="5" c:formatCode="0.00%">
                  <c:v>0.162943495400788</c:v>
                </c:pt>
                <c:pt idx="6" c:formatCode="0.00%">
                  <c:v>0.100564971751412</c:v>
                </c:pt>
                <c:pt idx="7" c:formatCode="0.00%">
                  <c:v>0.123203285420945</c:v>
                </c:pt>
                <c:pt idx="8" c:formatCode="0.00%">
                  <c:v>0.0968921389396709</c:v>
                </c:pt>
                <c:pt idx="9" c:formatCode="0.00%">
                  <c:v>0.0816666666666667</c:v>
                </c:pt>
                <c:pt idx="10" c:formatCode="0.00%">
                  <c:v>0.0685670261941448</c:v>
                </c:pt>
                <c:pt idx="11" c:formatCode="0.00%">
                  <c:v>0.065609228550829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7F7F7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7F7F7F"/>
              </a:solidFill>
              <a:ln w="9525" cap="flat" cmpd="sng" algn="ctr">
                <a:solidFill>
                  <a:srgbClr val="7F7F7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0.316239316239316</c:v>
                </c:pt>
                <c:pt idx="2" c:formatCode="0.00%">
                  <c:v>0.720779220779221</c:v>
                </c:pt>
                <c:pt idx="3" c:formatCode="0.00%">
                  <c:v>-0.566037735849057</c:v>
                </c:pt>
                <c:pt idx="4" c:formatCode="0.00%">
                  <c:v>-0.0434782608695652</c:v>
                </c:pt>
                <c:pt idx="5" c:formatCode="0.00%">
                  <c:v>0.127272727272727</c:v>
                </c:pt>
                <c:pt idx="6" c:formatCode="0.00%">
                  <c:v>-0.282258064516129</c:v>
                </c:pt>
                <c:pt idx="7" c:formatCode="0.00%">
                  <c:v>0.348314606741573</c:v>
                </c:pt>
                <c:pt idx="8" c:formatCode="0.00%">
                  <c:v>-0.116666666666667</c:v>
                </c:pt>
                <c:pt idx="9" c:formatCode="0.00%">
                  <c:v>-0.0754716981132075</c:v>
                </c:pt>
                <c:pt idx="10" c:formatCode="0.00%">
                  <c:v>-0.0918367346938776</c:v>
                </c:pt>
                <c:pt idx="11" c:formatCode="0.00%">
                  <c:v>0.022471910112359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253504"/>
        <c:axId val="207120640"/>
      </c:lineChart>
      <c:catAx>
        <c:axId val="2071083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18720"/>
        <c:crosses val="autoZero"/>
        <c:auto val="1"/>
        <c:lblAlgn val="ctr"/>
        <c:lblOffset val="100"/>
        <c:noMultiLvlLbl val="0"/>
      </c:catAx>
      <c:valAx>
        <c:axId val="2071187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8352"/>
        <c:crosses val="autoZero"/>
        <c:crossBetween val="between"/>
      </c:valAx>
      <c:catAx>
        <c:axId val="207253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20640"/>
        <c:crosses val="autoZero"/>
        <c:auto val="1"/>
        <c:lblAlgn val="ctr"/>
        <c:lblOffset val="100"/>
        <c:noMultiLvlLbl val="0"/>
      </c:catAx>
      <c:valAx>
        <c:axId val="20712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253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7F7F7F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Journeys-</a:t>
            </a:r>
            <a:r>
              <a:rPr lang="en-US" altLang="zh-CN" sz="1800" dirty="0"/>
              <a:t>CW 13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Journe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138816"/>
        <c:axId val="209141120"/>
      </c:barChart>
      <c:dateAx>
        <c:axId val="20913881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en-US" altLang="zh-CN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41120"/>
        <c:crosses val="autoZero"/>
        <c:auto val="1"/>
        <c:lblOffset val="100"/>
        <c:baseTimeUnit val="days"/>
      </c:dateAx>
      <c:valAx>
        <c:axId val="209141120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8816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48484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Journeys-</a:t>
            </a:r>
            <a:r>
              <a:rPr lang="en-US" altLang="zh-CN" sz="1800" dirty="0"/>
              <a:t>CW 12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Journe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138816"/>
        <c:axId val="209141120"/>
      </c:barChart>
      <c:dateAx>
        <c:axId val="20913881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en-US" altLang="zh-CN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41120"/>
        <c:crosses val="autoZero"/>
        <c:auto val="1"/>
        <c:lblOffset val="100"/>
        <c:baseTimeUnit val="days"/>
      </c:dateAx>
      <c:valAx>
        <c:axId val="209141120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8816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48484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15"/>
              <c:layout>
                <c:manualLayout>
                  <c:x val="0"/>
                  <c:y val="0.010294117647058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6"/>
              <c:layout>
                <c:manualLayout>
                  <c:x val="0"/>
                  <c:y val="0.013235294117647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7"/>
              <c:layout>
                <c:manualLayout>
                  <c:x val="0.00234659711596439"/>
                  <c:y val="0.019117647058823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0.0015643980773096"/>
                  <c:y val="0.017647058823529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  <c:pt idx="47">
                  <c:v>15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4105984"/>
        <c:axId val="20447833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C$2:$C$52</c:f>
              <c:numCache>
                <c:formatCode>0%</c:formatCode>
                <c:ptCount val="51"/>
                <c:pt idx="0">
                  <c:v>#N/A</c:v>
                </c:pt>
                <c:pt idx="1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1.64285714285714</c:v>
                </c:pt>
                <c:pt idx="5" c:formatCode="0.00%">
                  <c:v>0.135135135135135</c:v>
                </c:pt>
                <c:pt idx="6" c:formatCode="0.00%">
                  <c:v>0.547619047619048</c:v>
                </c:pt>
                <c:pt idx="7" c:formatCode="0.00%">
                  <c:v>0.153846153846154</c:v>
                </c:pt>
                <c:pt idx="8" c:formatCode="0.00%">
                  <c:v>0.12</c:v>
                </c:pt>
                <c:pt idx="9" c:formatCode="0.00%">
                  <c:v>0.761904761904762</c:v>
                </c:pt>
                <c:pt idx="10" c:formatCode="0.00%">
                  <c:v>0.25</c:v>
                </c:pt>
                <c:pt idx="11" c:formatCode="0.00%">
                  <c:v>0.0648648648648649</c:v>
                </c:pt>
                <c:pt idx="12" c:formatCode="0.00%">
                  <c:v>0.0812182741116751</c:v>
                </c:pt>
                <c:pt idx="13" c:formatCode="0.00%">
                  <c:v>0.0328638497652582</c:v>
                </c:pt>
                <c:pt idx="14" c:formatCode="0.00%">
                  <c:v>0.0318181818181818</c:v>
                </c:pt>
                <c:pt idx="15" c:formatCode="0.00%">
                  <c:v>0.013215859030837</c:v>
                </c:pt>
                <c:pt idx="16" c:formatCode="0.00%">
                  <c:v>0.0130434782608696</c:v>
                </c:pt>
                <c:pt idx="17" c:formatCode="0.00%">
                  <c:v>0.00858369098712446</c:v>
                </c:pt>
                <c:pt idx="18" c:formatCode="0.00%">
                  <c:v>0.0170212765957447</c:v>
                </c:pt>
                <c:pt idx="19" c:formatCode="0.00%">
                  <c:v>0.0167364016736402</c:v>
                </c:pt>
                <c:pt idx="20" c:formatCode="0.00%">
                  <c:v>0.0452674897119342</c:v>
                </c:pt>
                <c:pt idx="21" c:formatCode="0.00%">
                  <c:v>0.0354330708661417</c:v>
                </c:pt>
                <c:pt idx="22" c:formatCode="0.00%">
                  <c:v>0.00760456273764259</c:v>
                </c:pt>
                <c:pt idx="23" c:formatCode="0.00%">
                  <c:v>0</c:v>
                </c:pt>
                <c:pt idx="24" c:formatCode="0.00%">
                  <c:v>0.030188679245283</c:v>
                </c:pt>
                <c:pt idx="25" c:formatCode="0.00%">
                  <c:v>0.032967032967033</c:v>
                </c:pt>
                <c:pt idx="26" c:formatCode="0.00%">
                  <c:v>0.00709219858156028</c:v>
                </c:pt>
                <c:pt idx="27" c:formatCode="0.00%">
                  <c:v>0</c:v>
                </c:pt>
                <c:pt idx="28" c:formatCode="0.00%">
                  <c:v>0.0457746478873239</c:v>
                </c:pt>
                <c:pt idx="29" c:formatCode="0.00%">
                  <c:v>0.037037037037037</c:v>
                </c:pt>
                <c:pt idx="30" c:formatCode="0.00%">
                  <c:v>0.012987012987013</c:v>
                </c:pt>
                <c:pt idx="31" c:formatCode="0.00%">
                  <c:v>0.0224358974358974</c:v>
                </c:pt>
                <c:pt idx="32" c:formatCode="0.00%">
                  <c:v>0.0250783699059561</c:v>
                </c:pt>
                <c:pt idx="33" c:formatCode="0.00%">
                  <c:v>0.0152905198776758</c:v>
                </c:pt>
                <c:pt idx="34" c:formatCode="0.00%">
                  <c:v>0.0180722891566265</c:v>
                </c:pt>
                <c:pt idx="35" c:formatCode="0.00%">
                  <c:v>0</c:v>
                </c:pt>
                <c:pt idx="36" c:formatCode="0.00%">
                  <c:v>0.00887573964497041</c:v>
                </c:pt>
                <c:pt idx="37" c:formatCode="0.00%">
                  <c:v>0</c:v>
                </c:pt>
                <c:pt idx="38" c:formatCode="0.00%">
                  <c:v>0.00293255131964809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6198830409357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.0230547550432277</c:v>
                </c:pt>
                <c:pt idx="47" c:formatCode="0.00%">
                  <c:v>0.0422535211267606</c:v>
                </c:pt>
                <c:pt idx="48" c:formatCode="0.00%">
                  <c:v>0.0027027027027027</c:v>
                </c:pt>
                <c:pt idx="49" c:formatCode="0.00%">
                  <c:v>0.00269541778975741</c:v>
                </c:pt>
                <c:pt idx="50" c:formatCode="0.00%">
                  <c:v>0.0053763440860215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D$2:$D$52</c:f>
              <c:numCache>
                <c:formatCode>0%</c:formatCode>
                <c:ptCount val="51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0.642857142857143</c:v>
                </c:pt>
                <c:pt idx="5" c:formatCode="0.00%">
                  <c:v>-0.782608695652174</c:v>
                </c:pt>
                <c:pt idx="6" c:formatCode="0.00%">
                  <c:v>3.6</c:v>
                </c:pt>
                <c:pt idx="7" c:formatCode="0.00%">
                  <c:v>-0.565217391304348</c:v>
                </c:pt>
                <c:pt idx="8" c:formatCode="0.00%">
                  <c:v>-0.1</c:v>
                </c:pt>
                <c:pt idx="9" c:formatCode="0.00%">
                  <c:v>6.11111111111111</c:v>
                </c:pt>
                <c:pt idx="10" c:formatCode="0.00%">
                  <c:v>-0.421875</c:v>
                </c:pt>
                <c:pt idx="11" c:formatCode="0.00%">
                  <c:v>-0.675675675675676</c:v>
                </c:pt>
                <c:pt idx="12" c:formatCode="0.00%">
                  <c:v>0.333333333333333</c:v>
                </c:pt>
                <c:pt idx="13" c:formatCode="0.00%">
                  <c:v>-0.5625</c:v>
                </c:pt>
                <c:pt idx="14" c:formatCode="0.00%">
                  <c:v>0</c:v>
                </c:pt>
                <c:pt idx="15" c:formatCode="0.00%">
                  <c:v>-0.571428571428571</c:v>
                </c:pt>
                <c:pt idx="16" c:formatCode="0.00%">
                  <c:v>0</c:v>
                </c:pt>
                <c:pt idx="17" c:formatCode="0.00%">
                  <c:v>-0.333333333333333</c:v>
                </c:pt>
                <c:pt idx="18" c:formatCode="0.00%">
                  <c:v>1</c:v>
                </c:pt>
                <c:pt idx="19" c:formatCode="0.00%">
                  <c:v>0</c:v>
                </c:pt>
                <c:pt idx="20" c:formatCode="0.00%">
                  <c:v>1.75</c:v>
                </c:pt>
                <c:pt idx="21" c:formatCode="0.00%">
                  <c:v>-0.181818181818182</c:v>
                </c:pt>
                <c:pt idx="22" c:formatCode="0.00%">
                  <c:v>-0.777777777777778</c:v>
                </c:pt>
                <c:pt idx="23" c:formatCode="0.00%">
                  <c:v>-1</c:v>
                </c:pt>
                <c:pt idx="24" c:formatCode="0.00%">
                  <c:v>0</c:v>
                </c:pt>
                <c:pt idx="25" c:formatCode="0.00%">
                  <c:v>0.125</c:v>
                </c:pt>
                <c:pt idx="26" c:formatCode="0.00%">
                  <c:v>-0.777777777777778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-0.153846153846154</c:v>
                </c:pt>
                <c:pt idx="30" c:formatCode="0.00%">
                  <c:v>-0.636363636363636</c:v>
                </c:pt>
                <c:pt idx="31" c:formatCode="0.00%">
                  <c:v>0.75</c:v>
                </c:pt>
                <c:pt idx="32" c:formatCode="0.00%">
                  <c:v>0.142857142857143</c:v>
                </c:pt>
                <c:pt idx="33" c:formatCode="0.00%">
                  <c:v>-0.375</c:v>
                </c:pt>
                <c:pt idx="34" c:formatCode="0.00%">
                  <c:v>0.2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-1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.875</c:v>
                </c:pt>
                <c:pt idx="48" c:formatCode="0.00%">
                  <c:v>-0.933333333333333</c:v>
                </c:pt>
                <c:pt idx="49" c:formatCode="0.00%">
                  <c:v>0</c:v>
                </c:pt>
                <c:pt idx="50" c:formatCode="0.00%">
                  <c:v>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4495104"/>
        <c:axId val="204492800"/>
      </c:lineChart>
      <c:catAx>
        <c:axId val="204105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cap="none" baseline="0" dirty="0"/>
                  <a:t>Calendar weeks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78336"/>
        <c:crosses val="autoZero"/>
        <c:auto val="1"/>
        <c:lblAlgn val="ctr"/>
        <c:lblOffset val="100"/>
        <c:noMultiLvlLbl val="0"/>
      </c:catAx>
      <c:valAx>
        <c:axId val="2044783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105984"/>
        <c:crosses val="autoZero"/>
        <c:crossBetween val="between"/>
      </c:valAx>
      <c:catAx>
        <c:axId val="204495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2800"/>
        <c:crosses val="autoZero"/>
        <c:auto val="1"/>
        <c:lblAlgn val="ctr"/>
        <c:lblOffset val="100"/>
        <c:noMultiLvlLbl val="0"/>
      </c:catAx>
      <c:valAx>
        <c:axId val="20449280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51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</a:t>
            </a:r>
            <a:r>
              <a:rPr lang="en-US" altLang="zh-CN" sz="1800" b="0" i="0" u="none" strike="noStrike" baseline="0" dirty="0">
                <a:effectLst/>
              </a:rPr>
              <a:t>Journey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5313297105467"/>
          <c:y val="0.153188691087527"/>
          <c:w val="0.848865106650401"/>
          <c:h val="0.5842907680018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  <c:pt idx="47">
                  <c:v>15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7103872"/>
        <c:axId val="2073020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Journey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0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c43e55d7-bff6-42e2-adb1-92b246a16dfc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C$2:$C$52</c:f>
              <c:numCache>
                <c:formatCode>0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.5</c:v>
                </c:pt>
                <c:pt idx="4">
                  <c:v>7.4</c:v>
                </c:pt>
                <c:pt idx="5">
                  <c:v>7</c:v>
                </c:pt>
                <c:pt idx="6">
                  <c:v>9.28571428571429</c:v>
                </c:pt>
                <c:pt idx="7">
                  <c:v>9.375</c:v>
                </c:pt>
                <c:pt idx="8">
                  <c:v>9.33333333333333</c:v>
                </c:pt>
                <c:pt idx="9">
                  <c:v>14.8</c:v>
                </c:pt>
                <c:pt idx="10">
                  <c:v>16.8181818181818</c:v>
                </c:pt>
                <c:pt idx="11">
                  <c:v>16.4166666666667</c:v>
                </c:pt>
                <c:pt idx="12">
                  <c:v>16.3846153846154</c:v>
                </c:pt>
                <c:pt idx="13">
                  <c:v>15.7142857142857</c:v>
                </c:pt>
                <c:pt idx="14">
                  <c:v>15.1333333333333</c:v>
                </c:pt>
                <c:pt idx="15">
                  <c:v>14.375</c:v>
                </c:pt>
                <c:pt idx="16">
                  <c:v>13.7058823529412</c:v>
                </c:pt>
                <c:pt idx="17">
                  <c:v>13.0555555555556</c:v>
                </c:pt>
                <c:pt idx="18">
                  <c:v>12.5789473684211</c:v>
                </c:pt>
                <c:pt idx="19">
                  <c:v>12.15</c:v>
                </c:pt>
                <c:pt idx="20">
                  <c:v>12.0952380952381</c:v>
                </c:pt>
                <c:pt idx="21">
                  <c:v>11.9545454545455</c:v>
                </c:pt>
                <c:pt idx="22">
                  <c:v>11.5217391304348</c:v>
                </c:pt>
                <c:pt idx="23">
                  <c:v>11.0416666666667</c:v>
                </c:pt>
                <c:pt idx="24">
                  <c:v>10.92</c:v>
                </c:pt>
                <c:pt idx="25">
                  <c:v>10.8461538461538</c:v>
                </c:pt>
                <c:pt idx="26">
                  <c:v>10.5185185185185</c:v>
                </c:pt>
                <c:pt idx="27">
                  <c:v>10.1428571428571</c:v>
                </c:pt>
                <c:pt idx="28">
                  <c:v>10.2413793103448</c:v>
                </c:pt>
                <c:pt idx="29">
                  <c:v>10.2666666666667</c:v>
                </c:pt>
                <c:pt idx="30">
                  <c:v>10.0645161290323</c:v>
                </c:pt>
                <c:pt idx="31">
                  <c:v>9.96875</c:v>
                </c:pt>
                <c:pt idx="32">
                  <c:v>9.90909090909091</c:v>
                </c:pt>
                <c:pt idx="33">
                  <c:v>9.76470588235294</c:v>
                </c:pt>
                <c:pt idx="34">
                  <c:v>9.65714285714286</c:v>
                </c:pt>
                <c:pt idx="35">
                  <c:v>9.38888888888889</c:v>
                </c:pt>
                <c:pt idx="36">
                  <c:v>9.21621621621622</c:v>
                </c:pt>
                <c:pt idx="37">
                  <c:v>8.97368421052632</c:v>
                </c:pt>
                <c:pt idx="38">
                  <c:v>8.76923076923077</c:v>
                </c:pt>
                <c:pt idx="39">
                  <c:v>8.55</c:v>
                </c:pt>
                <c:pt idx="40">
                  <c:v>8.34146341463415</c:v>
                </c:pt>
                <c:pt idx="41">
                  <c:v>8.26190476190476</c:v>
                </c:pt>
                <c:pt idx="42">
                  <c:v>8.06976744186047</c:v>
                </c:pt>
                <c:pt idx="43">
                  <c:v>7.88636363636364</c:v>
                </c:pt>
                <c:pt idx="44">
                  <c:v>7.71111111111111</c:v>
                </c:pt>
                <c:pt idx="45">
                  <c:v>7.54347826086957</c:v>
                </c:pt>
                <c:pt idx="46">
                  <c:v>7.5531914893617</c:v>
                </c:pt>
                <c:pt idx="47">
                  <c:v>7.70833333333333</c:v>
                </c:pt>
                <c:pt idx="48">
                  <c:v>7.57142857142857</c:v>
                </c:pt>
                <c:pt idx="49">
                  <c:v>7.44</c:v>
                </c:pt>
                <c:pt idx="50">
                  <c:v>7.3333333333333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103872"/>
        <c:axId val="207302016"/>
      </c:lineChart>
      <c:dateAx>
        <c:axId val="20710387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302016"/>
        <c:crosses val="autoZero"/>
        <c:auto val="0"/>
        <c:lblAlgn val="ctr"/>
        <c:lblOffset val="100"/>
        <c:baseTimeUnit val="days"/>
      </c:dateAx>
      <c:valAx>
        <c:axId val="20730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3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Journeys</a:t>
            </a:r>
            <a:endParaRPr lang="zh-CN" altLang="zh-CN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7779342723005"/>
          <c:y val="0.183423913043478"/>
          <c:w val="0.82263490748412"/>
          <c:h val="0.5344021739130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  <c:pt idx="47">
                  <c:v>15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823808"/>
        <c:axId val="20682649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Journey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6"/>
              <c:delete val="1"/>
            </c:dLbl>
            <c:dLbl>
              <c:idx val="27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C$2:$C$52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 c:formatCode="0">
                  <c:v>0</c:v>
                </c:pt>
                <c:pt idx="3" c:formatCode="0">
                  <c:v>2</c:v>
                </c:pt>
                <c:pt idx="4" c:formatCode="0">
                  <c:v>3.28571428571429</c:v>
                </c:pt>
                <c:pt idx="5" c:formatCode="0">
                  <c:v>0.714285714285714</c:v>
                </c:pt>
                <c:pt idx="6" c:formatCode="0">
                  <c:v>3.28571428571429</c:v>
                </c:pt>
                <c:pt idx="7" c:formatCode="0">
                  <c:v>1.42857142857143</c:v>
                </c:pt>
                <c:pt idx="8" c:formatCode="0">
                  <c:v>1.28571428571429</c:v>
                </c:pt>
                <c:pt idx="9" c:formatCode="0">
                  <c:v>9.14285714285714</c:v>
                </c:pt>
                <c:pt idx="10" c:formatCode="0">
                  <c:v>5.28571428571429</c:v>
                </c:pt>
                <c:pt idx="11" c:formatCode="0">
                  <c:v>1.71428571428571</c:v>
                </c:pt>
                <c:pt idx="12" c:formatCode="0">
                  <c:v>2.28571428571429</c:v>
                </c:pt>
                <c:pt idx="13" c:formatCode="0">
                  <c:v>1</c:v>
                </c:pt>
                <c:pt idx="14" c:formatCode="0">
                  <c:v>1</c:v>
                </c:pt>
                <c:pt idx="15" c:formatCode="0">
                  <c:v>0.428571428571429</c:v>
                </c:pt>
                <c:pt idx="16" c:formatCode="0">
                  <c:v>0.428571428571429</c:v>
                </c:pt>
                <c:pt idx="17" c:formatCode="0">
                  <c:v>0.285714285714286</c:v>
                </c:pt>
                <c:pt idx="18" c:formatCode="0">
                  <c:v>0.571428571428571</c:v>
                </c:pt>
                <c:pt idx="19" c:formatCode="0">
                  <c:v>0.571428571428571</c:v>
                </c:pt>
                <c:pt idx="20" c:formatCode="0">
                  <c:v>1.57142857142857</c:v>
                </c:pt>
                <c:pt idx="21" c:formatCode="0">
                  <c:v>1.28571428571429</c:v>
                </c:pt>
                <c:pt idx="22" c:formatCode="0">
                  <c:v>0.285714285714286</c:v>
                </c:pt>
                <c:pt idx="23" c:formatCode="0">
                  <c:v>0</c:v>
                </c:pt>
                <c:pt idx="24" c:formatCode="0">
                  <c:v>1.14285714285714</c:v>
                </c:pt>
                <c:pt idx="25" c:formatCode="0">
                  <c:v>1.28571428571429</c:v>
                </c:pt>
                <c:pt idx="26" c:formatCode="0">
                  <c:v>0.285714285714286</c:v>
                </c:pt>
                <c:pt idx="27" c:formatCode="0">
                  <c:v>0</c:v>
                </c:pt>
                <c:pt idx="28" c:formatCode="0">
                  <c:v>1.85714285714286</c:v>
                </c:pt>
                <c:pt idx="29" c:formatCode="0">
                  <c:v>1.57142857142857</c:v>
                </c:pt>
                <c:pt idx="30" c:formatCode="0">
                  <c:v>0.571428571428571</c:v>
                </c:pt>
                <c:pt idx="31" c:formatCode="0">
                  <c:v>1</c:v>
                </c:pt>
                <c:pt idx="32" c:formatCode="0">
                  <c:v>1.14285714285714</c:v>
                </c:pt>
                <c:pt idx="33" c:formatCode="0">
                  <c:v>0.714285714285714</c:v>
                </c:pt>
                <c:pt idx="34" c:formatCode="0">
                  <c:v>0.857142857142857</c:v>
                </c:pt>
                <c:pt idx="35" c:formatCode="0">
                  <c:v>0</c:v>
                </c:pt>
                <c:pt idx="36" c:formatCode="0">
                  <c:v>0.428571428571429</c:v>
                </c:pt>
                <c:pt idx="37" c:formatCode="0">
                  <c:v>0</c:v>
                </c:pt>
                <c:pt idx="38" c:formatCode="0">
                  <c:v>0.142857142857143</c:v>
                </c:pt>
                <c:pt idx="39" c:formatCode="0">
                  <c:v>0</c:v>
                </c:pt>
                <c:pt idx="40" c:formatCode="0">
                  <c:v>0</c:v>
                </c:pt>
                <c:pt idx="41" c:formatCode="0">
                  <c:v>0.714285714285714</c:v>
                </c:pt>
                <c:pt idx="42" c:formatCode="0">
                  <c:v>0</c:v>
                </c:pt>
                <c:pt idx="43" c:formatCode="0">
                  <c:v>0</c:v>
                </c:pt>
                <c:pt idx="44" c:formatCode="0">
                  <c:v>0</c:v>
                </c:pt>
                <c:pt idx="45" c:formatCode="0">
                  <c:v>0</c:v>
                </c:pt>
                <c:pt idx="46" c:formatCode="0">
                  <c:v>1.14285714285714</c:v>
                </c:pt>
                <c:pt idx="47" c:formatCode="0">
                  <c:v>2.14285714285714</c:v>
                </c:pt>
                <c:pt idx="48" c:formatCode="0">
                  <c:v>0.142857142857143</c:v>
                </c:pt>
                <c:pt idx="49" c:formatCode="0">
                  <c:v>0.142857142857143</c:v>
                </c:pt>
                <c:pt idx="50" c:formatCode="0">
                  <c:v>0.28571428571428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823808"/>
        <c:axId val="206826496"/>
      </c:lineChart>
      <c:dateAx>
        <c:axId val="2068238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6496"/>
        <c:crosses val="autoZero"/>
        <c:auto val="0"/>
        <c:lblAlgn val="ctr"/>
        <c:lblOffset val="100"/>
        <c:baseTimeUnit val="days"/>
      </c:dateAx>
      <c:valAx>
        <c:axId val="206826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3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Journeys</c:v>
                </c:pt>
              </c:strCache>
            </c:strRef>
          </c:tx>
          <c:spPr>
            <a:solidFill>
              <a:srgbClr val="C00000">
                <a:alpha val="99000"/>
              </a:srgbClr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1</c:v>
                </c:pt>
                <c:pt idx="1">
                  <c:v>60</c:v>
                </c:pt>
                <c:pt idx="2">
                  <c:v>126</c:v>
                </c:pt>
                <c:pt idx="3">
                  <c:v>33</c:v>
                </c:pt>
                <c:pt idx="4">
                  <c:v>23</c:v>
                </c:pt>
                <c:pt idx="5">
                  <c:v>20</c:v>
                </c:pt>
                <c:pt idx="6">
                  <c:v>25</c:v>
                </c:pt>
                <c:pt idx="7">
                  <c:v>34</c:v>
                </c:pt>
                <c:pt idx="8">
                  <c:v>10</c:v>
                </c:pt>
                <c:pt idx="9">
                  <c:v>5</c:v>
                </c:pt>
                <c:pt idx="10">
                  <c:v>6</c:v>
                </c:pt>
                <c:pt idx="11">
                  <c:v>2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740160"/>
        <c:axId val="20974208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5.45454545454545</c:v>
                </c:pt>
                <c:pt idx="2" c:formatCode="0.00%">
                  <c:v>1.77464788732394</c:v>
                </c:pt>
                <c:pt idx="3" c:formatCode="0.00%">
                  <c:v>0.16751269035533</c:v>
                </c:pt>
                <c:pt idx="4" c:formatCode="0.00%">
                  <c:v>0.1</c:v>
                </c:pt>
                <c:pt idx="5" c:formatCode="0.00%">
                  <c:v>0.0790513833992095</c:v>
                </c:pt>
                <c:pt idx="6" c:formatCode="0.00%">
                  <c:v>0.0915750915750916</c:v>
                </c:pt>
                <c:pt idx="7" c:formatCode="0.00%">
                  <c:v>0.114093959731544</c:v>
                </c:pt>
                <c:pt idx="8" c:formatCode="0.00%">
                  <c:v>0.0301204819277108</c:v>
                </c:pt>
                <c:pt idx="9" c:formatCode="0.00%">
                  <c:v>0.0146198830409357</c:v>
                </c:pt>
                <c:pt idx="10" c:formatCode="0.00%">
                  <c:v>0.0172910662824208</c:v>
                </c:pt>
                <c:pt idx="11" c:formatCode="0.00%">
                  <c:v>0.059490084985835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4.45454545454545</c:v>
                </c:pt>
                <c:pt idx="2" c:formatCode="0.00%">
                  <c:v>1.1</c:v>
                </c:pt>
                <c:pt idx="3" c:formatCode="0.00%">
                  <c:v>-0.738095238095238</c:v>
                </c:pt>
                <c:pt idx="4" c:formatCode="0.00%">
                  <c:v>-0.303030303030303</c:v>
                </c:pt>
                <c:pt idx="5" c:formatCode="0.00%">
                  <c:v>-0.130434782608696</c:v>
                </c:pt>
                <c:pt idx="6" c:formatCode="0.00%">
                  <c:v>0.25</c:v>
                </c:pt>
                <c:pt idx="7" c:formatCode="0.00%">
                  <c:v>0.36</c:v>
                </c:pt>
                <c:pt idx="8" c:formatCode="0.00%">
                  <c:v>-0.705882352941177</c:v>
                </c:pt>
                <c:pt idx="9" c:formatCode="0.00%">
                  <c:v>-0.5</c:v>
                </c:pt>
                <c:pt idx="10" c:formatCode="0.00%">
                  <c:v>0.2</c:v>
                </c:pt>
                <c:pt idx="11" c:formatCode="0.00%">
                  <c:v>2.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2176"/>
        <c:axId val="209760640"/>
      </c:lineChart>
      <c:catAx>
        <c:axId val="2097401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2080"/>
        <c:crosses val="autoZero"/>
        <c:auto val="1"/>
        <c:lblAlgn val="ctr"/>
        <c:lblOffset val="100"/>
        <c:noMultiLvlLbl val="0"/>
      </c:catAx>
      <c:valAx>
        <c:axId val="2097420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0160"/>
        <c:crosses val="autoZero"/>
        <c:crossBetween val="between"/>
      </c:valAx>
      <c:catAx>
        <c:axId val="2097621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0640"/>
        <c:crosses val="autoZero"/>
        <c:auto val="1"/>
        <c:lblAlgn val="ctr"/>
        <c:lblOffset val="100"/>
        <c:noMultiLvlLbl val="0"/>
      </c:catAx>
      <c:valAx>
        <c:axId val="20976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21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13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0:$A$106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B$100:$B$106</c:f>
              <c:numCache>
                <c:formatCode>General</c:formatCode>
                <c:ptCount val="7"/>
                <c:pt idx="0">
                  <c:v>8.7</c:v>
                </c:pt>
                <c:pt idx="1">
                  <c:v>2</c:v>
                </c:pt>
                <c:pt idx="2">
                  <c:v>2</c:v>
                </c:pt>
                <c:pt idx="3">
                  <c:v>5.5</c:v>
                </c:pt>
                <c:pt idx="4">
                  <c:v>0.3</c:v>
                </c:pt>
                <c:pt idx="5">
                  <c:v>0.8</c:v>
                </c:pt>
                <c:pt idx="6">
                  <c:v>0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0:$A$106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C$100:$C$106</c:f>
              <c:numCache>
                <c:formatCode>0%</c:formatCode>
                <c:ptCount val="7"/>
                <c:pt idx="0">
                  <c:v>1.80645161290323</c:v>
                </c:pt>
                <c:pt idx="1">
                  <c:v>-0.770114942528736</c:v>
                </c:pt>
                <c:pt idx="2">
                  <c:v>0</c:v>
                </c:pt>
                <c:pt idx="3">
                  <c:v>1.75</c:v>
                </c:pt>
                <c:pt idx="4">
                  <c:v>-0.945454545454545</c:v>
                </c:pt>
                <c:pt idx="5">
                  <c:v>1.66666666666667</c:v>
                </c:pt>
                <c:pt idx="6">
                  <c:v>-0.2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12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2:$A$98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B$92:$B$98</c:f>
              <c:numCache>
                <c:formatCode>General</c:formatCode>
                <c:ptCount val="7"/>
                <c:pt idx="0">
                  <c:v>3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2:$A$98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C$92:$C$98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92:$A$98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D$92:$D$9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92:$A$98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E$92:$E$98</c:f>
              <c:numCache>
                <c:formatCode>0%</c:formatCode>
                <c:ptCount val="7"/>
                <c:pt idx="0">
                  <c:v>0.333333333333333</c:v>
                </c:pt>
                <c:pt idx="1">
                  <c:v>0</c:v>
                </c:pt>
                <c:pt idx="2">
                  <c:v>-0.75</c:v>
                </c:pt>
                <c:pt idx="3">
                  <c:v>-1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12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99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B$93:$B$99</c:f>
              <c:numCache>
                <c:formatCode>General</c:formatCode>
                <c:ptCount val="7"/>
                <c:pt idx="0">
                  <c:v>3.5</c:v>
                </c:pt>
                <c:pt idx="1">
                  <c:v>0.9</c:v>
                </c:pt>
                <c:pt idx="2">
                  <c:v>0.4</c:v>
                </c:pt>
                <c:pt idx="3">
                  <c:v>0.5</c:v>
                </c:pt>
                <c:pt idx="4">
                  <c:v>0.7</c:v>
                </c:pt>
                <c:pt idx="5">
                  <c:v>1</c:v>
                </c:pt>
                <c:pt idx="6">
                  <c:v>3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99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C$93:$C$99</c:f>
              <c:numCache>
                <c:formatCode>0%</c:formatCode>
                <c:ptCount val="7"/>
                <c:pt idx="0">
                  <c:v>-0.0789473684210526</c:v>
                </c:pt>
                <c:pt idx="1">
                  <c:v>-0.742857142857143</c:v>
                </c:pt>
                <c:pt idx="2">
                  <c:v>-0.555555555555556</c:v>
                </c:pt>
                <c:pt idx="3">
                  <c:v>0.25</c:v>
                </c:pt>
                <c:pt idx="4">
                  <c:v>0.4</c:v>
                </c:pt>
                <c:pt idx="5">
                  <c:v>0.428571428571429</c:v>
                </c:pt>
                <c:pt idx="6">
                  <c:v>2.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797764799524029"/>
          <c:y val="0.124080882352941"/>
          <c:w val="0.845335784086787"/>
          <c:h val="0.635943627450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  <c:pt idx="47">
                  <c:v>22</c:v>
                </c:pt>
                <c:pt idx="48">
                  <c:v>19.6</c:v>
                </c:pt>
                <c:pt idx="49">
                  <c:v>10.1</c:v>
                </c:pt>
                <c:pt idx="50">
                  <c:v>19.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6425600"/>
        <c:axId val="21652684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C$2:$C$52</c:f>
              <c:numCache>
                <c:formatCode>0%</c:formatCode>
                <c:ptCount val="51"/>
                <c:pt idx="0">
                  <c:v>#N/A</c:v>
                </c:pt>
                <c:pt idx="1">
                  <c:v>#N/A</c:v>
                </c:pt>
                <c:pt idx="2" c:formatCode="0.00%">
                  <c:v>0.295612009237875</c:v>
                </c:pt>
                <c:pt idx="3" c:formatCode="0.00%">
                  <c:v>0.486631016042781</c:v>
                </c:pt>
                <c:pt idx="4" c:formatCode="0.00%">
                  <c:v>0.185851318944844</c:v>
                </c:pt>
                <c:pt idx="5" c:formatCode="0.00%">
                  <c:v>0.0728008088978767</c:v>
                </c:pt>
                <c:pt idx="6" c:formatCode="0.00%">
                  <c:v>0.240339302544769</c:v>
                </c:pt>
                <c:pt idx="7" c:formatCode="0.00%">
                  <c:v>0.0600303951367781</c:v>
                </c:pt>
                <c:pt idx="8" c:formatCode="0.00%">
                  <c:v>0.0874551971326165</c:v>
                </c:pt>
                <c:pt idx="9" c:formatCode="0.00%">
                  <c:v>0.276203032300593</c:v>
                </c:pt>
                <c:pt idx="10" c:formatCode="0.00%">
                  <c:v>0.108987603305785</c:v>
                </c:pt>
                <c:pt idx="11" c:formatCode="0.00%">
                  <c:v>0.0661387983232417</c:v>
                </c:pt>
                <c:pt idx="12" c:formatCode="0.00%">
                  <c:v>0.0502402795980778</c:v>
                </c:pt>
                <c:pt idx="13" c:formatCode="0.00%">
                  <c:v>0.0640599001663894</c:v>
                </c:pt>
                <c:pt idx="14" c:formatCode="0.00%">
                  <c:v>0.0879593432369038</c:v>
                </c:pt>
                <c:pt idx="15" c:formatCode="0.00%">
                  <c:v>0.0222781171397772</c:v>
                </c:pt>
                <c:pt idx="16" c:formatCode="0.00%">
                  <c:v>0.0397188049209139</c:v>
                </c:pt>
                <c:pt idx="17" c:formatCode="0.00%">
                  <c:v>0.0226504394861393</c:v>
                </c:pt>
                <c:pt idx="18" c:formatCode="0.00%">
                  <c:v>0.044297520661157</c:v>
                </c:pt>
                <c:pt idx="19" c:formatCode="0.00%">
                  <c:v>0.0471668249446027</c:v>
                </c:pt>
                <c:pt idx="20" c:formatCode="0.00%">
                  <c:v>0.0492744860943168</c:v>
                </c:pt>
                <c:pt idx="21" c:formatCode="0.00%">
                  <c:v>0.0334197637568424</c:v>
                </c:pt>
                <c:pt idx="22" c:formatCode="0.00%">
                  <c:v>0.0248118204627823</c:v>
                </c:pt>
                <c:pt idx="23" c:formatCode="0.00%">
                  <c:v>0.0138737758433079</c:v>
                </c:pt>
                <c:pt idx="24" c:formatCode="0.00%">
                  <c:v>0.0206600482962168</c:v>
                </c:pt>
                <c:pt idx="25" c:formatCode="0.00%">
                  <c:v>0.0299684542586751</c:v>
                </c:pt>
                <c:pt idx="26" c:formatCode="0.00%">
                  <c:v>0.0173557937723328</c:v>
                </c:pt>
                <c:pt idx="27" c:formatCode="0.00%">
                  <c:v>0.0097842448569995</c:v>
                </c:pt>
                <c:pt idx="28" c:formatCode="0.00%">
                  <c:v>0.0245962732919255</c:v>
                </c:pt>
                <c:pt idx="29" c:formatCode="0.00%">
                  <c:v>0.0795344325897187</c:v>
                </c:pt>
                <c:pt idx="30" c:formatCode="0.00%">
                  <c:v>0.0154986522911051</c:v>
                </c:pt>
                <c:pt idx="31" c:formatCode="0.00%">
                  <c:v>0.0294182702941827</c:v>
                </c:pt>
                <c:pt idx="32" c:formatCode="0.00%">
                  <c:v>0.0193382036957456</c:v>
                </c:pt>
                <c:pt idx="33" c:formatCode="0.00%">
                  <c:v>0.0143338954468803</c:v>
                </c:pt>
                <c:pt idx="34" c:formatCode="0.00%">
                  <c:v>0.0178719866999169</c:v>
                </c:pt>
                <c:pt idx="35" c:formatCode="0.00%">
                  <c:v>0.0173540220498163</c:v>
                </c:pt>
                <c:pt idx="36" c:formatCode="0.00%">
                  <c:v>0.0190648203893237</c:v>
                </c:pt>
                <c:pt idx="37" c:formatCode="0.00%">
                  <c:v>0.019495864513588</c:v>
                </c:pt>
                <c:pt idx="38" c:formatCode="0.00%">
                  <c:v>0.0127486961560749</c:v>
                </c:pt>
                <c:pt idx="39" c:formatCode="0.00%">
                  <c:v>0.0171657448025939</c:v>
                </c:pt>
                <c:pt idx="40" c:formatCode="0.00%">
                  <c:v>0.0138758672417026</c:v>
                </c:pt>
                <c:pt idx="41" c:formatCode="0.00%">
                  <c:v>0.0186794895505826</c:v>
                </c:pt>
                <c:pt idx="42" c:formatCode="0.00%">
                  <c:v>0.0245098039215686</c:v>
                </c:pt>
                <c:pt idx="43" c:formatCode="0.00%">
                  <c:v>0.00354421407052986</c:v>
                </c:pt>
                <c:pt idx="44" c:formatCode="0.00%">
                  <c:v>0.00565071516863853</c:v>
                </c:pt>
                <c:pt idx="45" c:formatCode="0.00%">
                  <c:v>0.00913081650570676</c:v>
                </c:pt>
                <c:pt idx="46" c:formatCode="0.00%">
                  <c:v>0.139203062467374</c:v>
                </c:pt>
                <c:pt idx="47" c:formatCode="0.00%">
                  <c:v>0.0336031770276463</c:v>
                </c:pt>
                <c:pt idx="48" c:formatCode="0.00%">
                  <c:v>0.0289640904388946</c:v>
                </c:pt>
                <c:pt idx="49" c:formatCode="0.00%">
                  <c:v>0.0145052419933937</c:v>
                </c:pt>
                <c:pt idx="50" c:formatCode="0.00%">
                  <c:v>0.028171007927519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Pt>
            <c:idx val="6"/>
            <c:marker>
              <c:symbol val="square"/>
              <c:size val="7"/>
              <c:spPr>
                <a:solidFill>
                  <a:srgbClr val="8C8C8C"/>
                </a:solidFill>
                <a:ln w="9525" cap="flat" cmpd="sng" algn="ctr">
                  <a:solidFill>
                    <a:srgbClr val="8C8C8C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D$2:$D$52</c:f>
              <c:numCache>
                <c:formatCode>0%</c:formatCode>
                <c:ptCount val="51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701631701631702</c:v>
                </c:pt>
                <c:pt idx="3" c:formatCode="0.00%">
                  <c:v>1.1328125</c:v>
                </c:pt>
                <c:pt idx="4" c:formatCode="0.00%">
                  <c:v>-0.432234432234432</c:v>
                </c:pt>
                <c:pt idx="5" c:formatCode="0.00%">
                  <c:v>-0.535483870967742</c:v>
                </c:pt>
                <c:pt idx="6" c:formatCode="0.00%">
                  <c:v>2.54166666666667</c:v>
                </c:pt>
                <c:pt idx="7" c:formatCode="0.00%">
                  <c:v>-0.690196078431373</c:v>
                </c:pt>
                <c:pt idx="8" c:formatCode="0.00%">
                  <c:v>0.544303797468354</c:v>
                </c:pt>
                <c:pt idx="9" c:formatCode="0.00%">
                  <c:v>2.4344262295082</c:v>
                </c:pt>
                <c:pt idx="10" c:formatCode="0.00%">
                  <c:v>-0.496420047732697</c:v>
                </c:pt>
                <c:pt idx="11" c:formatCode="0.00%">
                  <c:v>-0.327014218009479</c:v>
                </c:pt>
                <c:pt idx="12" c:formatCode="0.00%">
                  <c:v>-0.190140845070423</c:v>
                </c:pt>
                <c:pt idx="13" c:formatCode="0.00%">
                  <c:v>0.339130434782609</c:v>
                </c:pt>
                <c:pt idx="14" c:formatCode="0.00%">
                  <c:v>0.461038961038961</c:v>
                </c:pt>
                <c:pt idx="15" c:formatCode="0.00%">
                  <c:v>-0.724444444444444</c:v>
                </c:pt>
                <c:pt idx="16" c:formatCode="0.00%">
                  <c:v>0.82258064516129</c:v>
                </c:pt>
                <c:pt idx="17" c:formatCode="0.00%">
                  <c:v>-0.407079646017699</c:v>
                </c:pt>
                <c:pt idx="18" c:formatCode="0.00%">
                  <c:v>1</c:v>
                </c:pt>
                <c:pt idx="19" c:formatCode="0.00%">
                  <c:v>0.111940298507463</c:v>
                </c:pt>
                <c:pt idx="20" c:formatCode="0.00%">
                  <c:v>0.0939597315436242</c:v>
                </c:pt>
                <c:pt idx="21" c:formatCode="0.00%">
                  <c:v>-0.288343558282209</c:v>
                </c:pt>
                <c:pt idx="22" c:formatCode="0.00%">
                  <c:v>-0.232758620689655</c:v>
                </c:pt>
                <c:pt idx="23" c:formatCode="0.00%">
                  <c:v>-0.426966292134832</c:v>
                </c:pt>
                <c:pt idx="24" c:formatCode="0.00%">
                  <c:v>0.509803921568628</c:v>
                </c:pt>
                <c:pt idx="25" c:formatCode="0.00%">
                  <c:v>0.480519480519481</c:v>
                </c:pt>
                <c:pt idx="26" c:formatCode="0.00%">
                  <c:v>-0.403508771929825</c:v>
                </c:pt>
                <c:pt idx="27" c:formatCode="0.00%">
                  <c:v>-0.426470588235294</c:v>
                </c:pt>
                <c:pt idx="28" c:formatCode="0.00%">
                  <c:v>1.53846153846154</c:v>
                </c:pt>
                <c:pt idx="29" c:formatCode="0.00%">
                  <c:v>2.31313131313131</c:v>
                </c:pt>
                <c:pt idx="30" c:formatCode="0.00%">
                  <c:v>-0.789634146341463</c:v>
                </c:pt>
                <c:pt idx="31" c:formatCode="0.00%">
                  <c:v>0.927536231884058</c:v>
                </c:pt>
                <c:pt idx="32" c:formatCode="0.00%">
                  <c:v>-0.323308270676692</c:v>
                </c:pt>
                <c:pt idx="33" c:formatCode="0.00%">
                  <c:v>-0.244444444444444</c:v>
                </c:pt>
                <c:pt idx="34" c:formatCode="0.00%">
                  <c:v>0.264705882352941</c:v>
                </c:pt>
                <c:pt idx="35" c:formatCode="0.00%">
                  <c:v>-0.0116279069767441</c:v>
                </c:pt>
                <c:pt idx="36" c:formatCode="0.00%">
                  <c:v>0.117647058823529</c:v>
                </c:pt>
                <c:pt idx="37" c:formatCode="0.00%">
                  <c:v>0.0421052631578948</c:v>
                </c:pt>
                <c:pt idx="38" c:formatCode="0.00%">
                  <c:v>-0.333333333333333</c:v>
                </c:pt>
                <c:pt idx="39" c:formatCode="0.00%">
                  <c:v>0.363636363636364</c:v>
                </c:pt>
                <c:pt idx="40" c:formatCode="0.00%">
                  <c:v>-0.177777777777778</c:v>
                </c:pt>
                <c:pt idx="41" c:formatCode="0.00%">
                  <c:v>0.364864864864865</c:v>
                </c:pt>
                <c:pt idx="42" c:formatCode="0.00%">
                  <c:v>0.336633663366337</c:v>
                </c:pt>
                <c:pt idx="43" c:formatCode="0.00%">
                  <c:v>-0.851851851851852</c:v>
                </c:pt>
                <c:pt idx="44" c:formatCode="0.00%">
                  <c:v>0.6</c:v>
                </c:pt>
                <c:pt idx="45" c:formatCode="0.00%">
                  <c:v>0.625</c:v>
                </c:pt>
                <c:pt idx="46" c:formatCode="0.00%">
                  <c:v>14.3846153846154</c:v>
                </c:pt>
                <c:pt idx="47" c:formatCode="0.00%">
                  <c:v>-0.725</c:v>
                </c:pt>
                <c:pt idx="48" c:formatCode="0.00%">
                  <c:v>-0.109090909090909</c:v>
                </c:pt>
                <c:pt idx="49" c:formatCode="0.00%">
                  <c:v>-0.48469387755102</c:v>
                </c:pt>
                <c:pt idx="50" c:formatCode="0.00%">
                  <c:v>0.97029702970297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6530304"/>
        <c:axId val="216528768"/>
      </c:lineChart>
      <c:catAx>
        <c:axId val="2164256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6848"/>
        <c:crosses val="autoZero"/>
        <c:auto val="1"/>
        <c:lblAlgn val="ctr"/>
        <c:lblOffset val="100"/>
        <c:noMultiLvlLbl val="0"/>
      </c:catAx>
      <c:valAx>
        <c:axId val="2165268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425600"/>
        <c:crosses val="autoZero"/>
        <c:crossBetween val="between"/>
      </c:valAx>
      <c:catAx>
        <c:axId val="2165303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8768"/>
        <c:crosses val="autoZero"/>
        <c:auto val="1"/>
        <c:lblAlgn val="ctr"/>
        <c:lblOffset val="100"/>
        <c:noMultiLvlLbl val="0"/>
      </c:catAx>
      <c:valAx>
        <c:axId val="21652876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303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unning Time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  <c:pt idx="47">
                  <c:v>22</c:v>
                </c:pt>
                <c:pt idx="48">
                  <c:v>19.6</c:v>
                </c:pt>
                <c:pt idx="49">
                  <c:v>10.1</c:v>
                </c:pt>
                <c:pt idx="50">
                  <c:v>19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17015424"/>
        <c:axId val="21701734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unning Tim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C$2:$C$52</c:f>
              <c:numCache>
                <c:formatCode>0.00</c:formatCode>
                <c:ptCount val="51"/>
                <c:pt idx="0">
                  <c:v>0.4</c:v>
                </c:pt>
                <c:pt idx="1">
                  <c:v>21.65</c:v>
                </c:pt>
                <c:pt idx="2">
                  <c:v>18.7</c:v>
                </c:pt>
                <c:pt idx="3">
                  <c:v>20.85</c:v>
                </c:pt>
                <c:pt idx="4">
                  <c:v>19.78</c:v>
                </c:pt>
                <c:pt idx="5">
                  <c:v>17.6833333333333</c:v>
                </c:pt>
                <c:pt idx="6">
                  <c:v>18.8</c:v>
                </c:pt>
                <c:pt idx="7">
                  <c:v>17.4375</c:v>
                </c:pt>
                <c:pt idx="8">
                  <c:v>16.8555555555556</c:v>
                </c:pt>
                <c:pt idx="9">
                  <c:v>19.36</c:v>
                </c:pt>
                <c:pt idx="10">
                  <c:v>19.5181818181818</c:v>
                </c:pt>
                <c:pt idx="11">
                  <c:v>19.075</c:v>
                </c:pt>
                <c:pt idx="12">
                  <c:v>18.4923076923077</c:v>
                </c:pt>
                <c:pt idx="13">
                  <c:v>18.2714285714286</c:v>
                </c:pt>
                <c:pt idx="14">
                  <c:v>18.5533333333333</c:v>
                </c:pt>
                <c:pt idx="15">
                  <c:v>17.78125</c:v>
                </c:pt>
                <c:pt idx="16">
                  <c:v>17.4</c:v>
                </c:pt>
                <c:pt idx="17">
                  <c:v>16.8055555555556</c:v>
                </c:pt>
                <c:pt idx="18">
                  <c:v>16.6263157894737</c:v>
                </c:pt>
                <c:pt idx="19">
                  <c:v>16.54</c:v>
                </c:pt>
                <c:pt idx="20">
                  <c:v>16.5285714285714</c:v>
                </c:pt>
                <c:pt idx="21">
                  <c:v>16.3045454545455</c:v>
                </c:pt>
                <c:pt idx="22">
                  <c:v>15.9826086956522</c:v>
                </c:pt>
                <c:pt idx="23">
                  <c:v>15.5291666666667</c:v>
                </c:pt>
                <c:pt idx="24">
                  <c:v>15.216</c:v>
                </c:pt>
                <c:pt idx="25">
                  <c:v>15.0692307692308</c:v>
                </c:pt>
                <c:pt idx="26">
                  <c:v>14.762962962963</c:v>
                </c:pt>
                <c:pt idx="27">
                  <c:v>14.375</c:v>
                </c:pt>
                <c:pt idx="28">
                  <c:v>14.2206896551724</c:v>
                </c:pt>
                <c:pt idx="29">
                  <c:v>14.84</c:v>
                </c:pt>
                <c:pt idx="30">
                  <c:v>14.5838709677419</c:v>
                </c:pt>
                <c:pt idx="31">
                  <c:v>14.54375</c:v>
                </c:pt>
                <c:pt idx="32">
                  <c:v>14.3757575757576</c:v>
                </c:pt>
                <c:pt idx="33">
                  <c:v>14.1529411764706</c:v>
                </c:pt>
                <c:pt idx="34">
                  <c:v>13.9942857142857</c:v>
                </c:pt>
                <c:pt idx="35">
                  <c:v>13.8416666666667</c:v>
                </c:pt>
                <c:pt idx="36">
                  <c:v>13.7243243243243</c:v>
                </c:pt>
                <c:pt idx="37">
                  <c:v>13.6236842105263</c:v>
                </c:pt>
                <c:pt idx="38">
                  <c:v>13.4435897435897</c:v>
                </c:pt>
                <c:pt idx="39">
                  <c:v>13.3325</c:v>
                </c:pt>
                <c:pt idx="40">
                  <c:v>13.1878048780488</c:v>
                </c:pt>
                <c:pt idx="41">
                  <c:v>13.1142857142857</c:v>
                </c:pt>
                <c:pt idx="42">
                  <c:v>13.1232558139535</c:v>
                </c:pt>
                <c:pt idx="43">
                  <c:v>12.8704545454545</c:v>
                </c:pt>
                <c:pt idx="44">
                  <c:v>12.6555555555556</c:v>
                </c:pt>
                <c:pt idx="45">
                  <c:v>12.4934782608696</c:v>
                </c:pt>
                <c:pt idx="46">
                  <c:v>13.9297872340426</c:v>
                </c:pt>
                <c:pt idx="47">
                  <c:v>14.0979166666667</c:v>
                </c:pt>
                <c:pt idx="48">
                  <c:v>14.2102040816327</c:v>
                </c:pt>
                <c:pt idx="49">
                  <c:v>14.128</c:v>
                </c:pt>
                <c:pt idx="50">
                  <c:v>14.241176470588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7015424"/>
        <c:axId val="217017344"/>
      </c:lineChart>
      <c:dateAx>
        <c:axId val="21701542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7344"/>
        <c:crosses val="autoZero"/>
        <c:auto val="0"/>
        <c:lblAlgn val="ctr"/>
        <c:lblOffset val="100"/>
        <c:baseTimeUnit val="days"/>
      </c:dateAx>
      <c:valAx>
        <c:axId val="217017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5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Running Time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  <c:pt idx="47">
                  <c:v>22</c:v>
                </c:pt>
                <c:pt idx="48">
                  <c:v>19.6</c:v>
                </c:pt>
                <c:pt idx="49">
                  <c:v>10.1</c:v>
                </c:pt>
                <c:pt idx="50">
                  <c:v>19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23089408"/>
        <c:axId val="2230913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unning Time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5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C$2:$C$52</c:f>
              <c:numCache>
                <c:formatCode>0.00</c:formatCode>
                <c:ptCount val="51"/>
                <c:pt idx="0">
                  <c:v>0.2</c:v>
                </c:pt>
                <c:pt idx="1">
                  <c:v>6.12857142857143</c:v>
                </c:pt>
                <c:pt idx="2">
                  <c:v>1.82857142857143</c:v>
                </c:pt>
                <c:pt idx="3">
                  <c:v>3.9</c:v>
                </c:pt>
                <c:pt idx="4">
                  <c:v>2.21428571428571</c:v>
                </c:pt>
                <c:pt idx="5">
                  <c:v>1.02857142857143</c:v>
                </c:pt>
                <c:pt idx="6">
                  <c:v>3.64285714285714</c:v>
                </c:pt>
                <c:pt idx="7">
                  <c:v>1.12857142857143</c:v>
                </c:pt>
                <c:pt idx="8">
                  <c:v>1.74285714285714</c:v>
                </c:pt>
                <c:pt idx="9">
                  <c:v>5.98571428571429</c:v>
                </c:pt>
                <c:pt idx="10">
                  <c:v>3.01428571428571</c:v>
                </c:pt>
                <c:pt idx="11">
                  <c:v>2.02857142857143</c:v>
                </c:pt>
                <c:pt idx="12">
                  <c:v>1.64285714285714</c:v>
                </c:pt>
                <c:pt idx="13">
                  <c:v>2.2</c:v>
                </c:pt>
                <c:pt idx="14">
                  <c:v>3.21428571428571</c:v>
                </c:pt>
                <c:pt idx="15">
                  <c:v>0.885714285714286</c:v>
                </c:pt>
                <c:pt idx="16">
                  <c:v>1.61428571428571</c:v>
                </c:pt>
                <c:pt idx="17">
                  <c:v>0.957142857142857</c:v>
                </c:pt>
                <c:pt idx="18">
                  <c:v>1.91428571428571</c:v>
                </c:pt>
                <c:pt idx="19">
                  <c:v>2.12857142857143</c:v>
                </c:pt>
                <c:pt idx="20">
                  <c:v>2.32857142857143</c:v>
                </c:pt>
                <c:pt idx="21">
                  <c:v>1.65714285714286</c:v>
                </c:pt>
                <c:pt idx="22">
                  <c:v>1.27142857142857</c:v>
                </c:pt>
                <c:pt idx="23">
                  <c:v>0.728571428571429</c:v>
                </c:pt>
                <c:pt idx="24">
                  <c:v>1.1</c:v>
                </c:pt>
                <c:pt idx="25">
                  <c:v>1.62857142857143</c:v>
                </c:pt>
                <c:pt idx="26">
                  <c:v>0.971428571428571</c:v>
                </c:pt>
                <c:pt idx="27">
                  <c:v>0.557142857142857</c:v>
                </c:pt>
                <c:pt idx="28">
                  <c:v>1.41428571428571</c:v>
                </c:pt>
                <c:pt idx="29">
                  <c:v>4.68571428571429</c:v>
                </c:pt>
                <c:pt idx="30">
                  <c:v>0.985714285714286</c:v>
                </c:pt>
                <c:pt idx="31">
                  <c:v>1.9</c:v>
                </c:pt>
                <c:pt idx="32">
                  <c:v>1.28571428571429</c:v>
                </c:pt>
                <c:pt idx="33">
                  <c:v>0.971428571428571</c:v>
                </c:pt>
                <c:pt idx="34">
                  <c:v>1.22857142857143</c:v>
                </c:pt>
                <c:pt idx="35">
                  <c:v>1.21428571428571</c:v>
                </c:pt>
                <c:pt idx="36">
                  <c:v>1.35714285714286</c:v>
                </c:pt>
                <c:pt idx="37">
                  <c:v>1.41428571428571</c:v>
                </c:pt>
                <c:pt idx="38">
                  <c:v>0.942857142857143</c:v>
                </c:pt>
                <c:pt idx="39">
                  <c:v>1.28571428571429</c:v>
                </c:pt>
                <c:pt idx="40">
                  <c:v>1.05714285714286</c:v>
                </c:pt>
                <c:pt idx="41">
                  <c:v>1.44285714285714</c:v>
                </c:pt>
                <c:pt idx="42">
                  <c:v>1.92857142857143</c:v>
                </c:pt>
                <c:pt idx="43">
                  <c:v>0.285714285714286</c:v>
                </c:pt>
                <c:pt idx="44">
                  <c:v>0.457142857142857</c:v>
                </c:pt>
                <c:pt idx="45">
                  <c:v>0.742857142857143</c:v>
                </c:pt>
                <c:pt idx="46">
                  <c:v>11.4285714285714</c:v>
                </c:pt>
                <c:pt idx="47">
                  <c:v>3.14285714285714</c:v>
                </c:pt>
                <c:pt idx="48">
                  <c:v>2.8</c:v>
                </c:pt>
                <c:pt idx="49">
                  <c:v>1.44285714285714</c:v>
                </c:pt>
                <c:pt idx="50">
                  <c:v>2.8428571428571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3089408"/>
        <c:axId val="223091328"/>
      </c:lineChart>
      <c:dateAx>
        <c:axId val="2230894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91328"/>
        <c:crosses val="autoZero"/>
        <c:auto val="0"/>
        <c:lblAlgn val="ctr"/>
        <c:lblOffset val="100"/>
        <c:baseTimeUnit val="days"/>
      </c:dateAx>
      <c:valAx>
        <c:axId val="223091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8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Running Time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2"/>
            <c:invertIfNegative val="0"/>
            <c:bubble3D val="0"/>
          </c:dPt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64.9</c:v>
                </c:pt>
                <c:pt idx="1">
                  <c:v>73.5</c:v>
                </c:pt>
                <c:pt idx="2">
                  <c:v>90.5</c:v>
                </c:pt>
                <c:pt idx="3">
                  <c:v>60.2</c:v>
                </c:pt>
                <c:pt idx="4">
                  <c:v>57.4</c:v>
                </c:pt>
                <c:pt idx="5">
                  <c:v>39.4</c:v>
                </c:pt>
                <c:pt idx="6">
                  <c:v>35</c:v>
                </c:pt>
                <c:pt idx="7">
                  <c:v>60.3</c:v>
                </c:pt>
                <c:pt idx="8">
                  <c:v>38.2</c:v>
                </c:pt>
                <c:pt idx="9">
                  <c:v>36.1</c:v>
                </c:pt>
                <c:pt idx="10">
                  <c:v>96.9</c:v>
                </c:pt>
                <c:pt idx="11">
                  <c:v>73.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137024"/>
        <c:axId val="2091612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Pt>
            <c:idx val="1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Pt>
            <c:idx val="2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1.13251155624037</c:v>
                </c:pt>
                <c:pt idx="2" c:formatCode="0.00%">
                  <c:v>0.653901734104046</c:v>
                </c:pt>
                <c:pt idx="3" c:formatCode="0.00%">
                  <c:v>0.262996941896024</c:v>
                </c:pt>
                <c:pt idx="4" c:formatCode="0.00%">
                  <c:v>0.198547215496368</c:v>
                </c:pt>
                <c:pt idx="5" c:formatCode="0.00%">
                  <c:v>0.113708513708514</c:v>
                </c:pt>
                <c:pt idx="6" c:formatCode="0.00%">
                  <c:v>0.090697071780254</c:v>
                </c:pt>
                <c:pt idx="7" c:formatCode="0.00%">
                  <c:v>0.143264433357092</c:v>
                </c:pt>
                <c:pt idx="8" c:formatCode="0.00%">
                  <c:v>0.0793848711554447</c:v>
                </c:pt>
                <c:pt idx="9" c:formatCode="0.00%">
                  <c:v>0.0695032730073161</c:v>
                </c:pt>
                <c:pt idx="10" c:formatCode="0.00%">
                  <c:v>0.174437443744374</c:v>
                </c:pt>
                <c:pt idx="11" c:formatCode="0.00%">
                  <c:v>0.11327406499080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0.13251155624037</c:v>
                </c:pt>
                <c:pt idx="2" c:formatCode="0.00%">
                  <c:v>0.231292517006803</c:v>
                </c:pt>
                <c:pt idx="3" c:formatCode="0.00%">
                  <c:v>-0.334806629834254</c:v>
                </c:pt>
                <c:pt idx="4" c:formatCode="0.00%">
                  <c:v>-0.0465116279069768</c:v>
                </c:pt>
                <c:pt idx="5" c:formatCode="0.00%">
                  <c:v>-0.313588850174216</c:v>
                </c:pt>
                <c:pt idx="6" c:formatCode="0.00%">
                  <c:v>-0.111675126903553</c:v>
                </c:pt>
                <c:pt idx="7" c:formatCode="0.00%">
                  <c:v>0.722857142857143</c:v>
                </c:pt>
                <c:pt idx="8" c:formatCode="0.00%">
                  <c:v>-0.366500829187396</c:v>
                </c:pt>
                <c:pt idx="9" c:formatCode="0.00%">
                  <c:v>-0.0549738219895288</c:v>
                </c:pt>
                <c:pt idx="10" c:formatCode="0.00%">
                  <c:v>1.68421052631579</c:v>
                </c:pt>
                <c:pt idx="11" c:formatCode="0.00%">
                  <c:v>-0.23735810113519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9984"/>
        <c:axId val="209659008"/>
      </c:lineChart>
      <c:catAx>
        <c:axId val="2091370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61216"/>
        <c:crosses val="autoZero"/>
        <c:auto val="1"/>
        <c:lblAlgn val="ctr"/>
        <c:lblOffset val="100"/>
        <c:noMultiLvlLbl val="0"/>
      </c:catAx>
      <c:valAx>
        <c:axId val="2091612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7024"/>
        <c:crosses val="autoZero"/>
        <c:crossBetween val="between"/>
      </c:valAx>
      <c:catAx>
        <c:axId val="209769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659008"/>
        <c:crosses val="autoZero"/>
        <c:auto val="1"/>
        <c:lblAlgn val="ctr"/>
        <c:lblOffset val="100"/>
        <c:noMultiLvlLbl val="0"/>
      </c:catAx>
      <c:valAx>
        <c:axId val="20965900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99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A3A3A3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13</a:t>
            </a:r>
            <a:endParaRPr lang="en-US" altLang="zh-CN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86007139259864"/>
          <c:y val="0.0105072463768116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99</c:f>
              <c:numCache>
                <c:formatCode>yyyy/m/d</c:formatCode>
                <c:ptCount val="7"/>
                <c:pt idx="0" c:formatCode="yyyy/m/d">
                  <c:v>43913</c:v>
                </c:pt>
                <c:pt idx="1" c:formatCode="yyyy/m/d">
                  <c:v>43914</c:v>
                </c:pt>
                <c:pt idx="2" c:formatCode="yyyy/m/d">
                  <c:v>43915</c:v>
                </c:pt>
                <c:pt idx="3" c:formatCode="yyyy/m/d">
                  <c:v>43916</c:v>
                </c:pt>
                <c:pt idx="4" c:formatCode="yyyy/m/d">
                  <c:v>43917</c:v>
                </c:pt>
                <c:pt idx="5" c:formatCode="yyyy/m/d">
                  <c:v>43918</c:v>
                </c:pt>
                <c:pt idx="6" c:formatCode="yyyy/m/d">
                  <c:v>43919</c:v>
                </c:pt>
              </c:numCache>
            </c:numRef>
          </c:cat>
          <c:val>
            <c:numRef>
              <c:f>Sheet1!$B$93:$B$99</c:f>
              <c:numCache>
                <c:formatCode>General</c:formatCode>
                <c:ptCount val="7"/>
                <c:pt idx="0">
                  <c:v>3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93:$A$99</c:f>
              <c:numCache>
                <c:formatCode>yyyy/m/d</c:formatCode>
                <c:ptCount val="7"/>
                <c:pt idx="0" c:formatCode="yyyy/m/d">
                  <c:v>43913</c:v>
                </c:pt>
                <c:pt idx="1" c:formatCode="yyyy/m/d">
                  <c:v>43914</c:v>
                </c:pt>
                <c:pt idx="2" c:formatCode="yyyy/m/d">
                  <c:v>43915</c:v>
                </c:pt>
                <c:pt idx="3" c:formatCode="yyyy/m/d">
                  <c:v>43916</c:v>
                </c:pt>
                <c:pt idx="4" c:formatCode="yyyy/m/d">
                  <c:v>43917</c:v>
                </c:pt>
                <c:pt idx="5" c:formatCode="yyyy/m/d">
                  <c:v>43918</c:v>
                </c:pt>
                <c:pt idx="6" c:formatCode="yyyy/m/d">
                  <c:v>43919</c:v>
                </c:pt>
              </c:numCache>
            </c:numRef>
          </c:cat>
          <c:val>
            <c:numRef>
              <c:f>Sheet1!$C$93:$C$99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</c:dPt>
          <c:dLbls>
            <c:delete val="1"/>
          </c:dLbls>
          <c:cat>
            <c:numRef>
              <c:f>Sheet1!$A$93:$A$99</c:f>
              <c:numCache>
                <c:formatCode>yyyy/m/d</c:formatCode>
                <c:ptCount val="7"/>
                <c:pt idx="0" c:formatCode="yyyy/m/d">
                  <c:v>43913</c:v>
                </c:pt>
                <c:pt idx="1" c:formatCode="yyyy/m/d">
                  <c:v>43914</c:v>
                </c:pt>
                <c:pt idx="2" c:formatCode="yyyy/m/d">
                  <c:v>43915</c:v>
                </c:pt>
                <c:pt idx="3" c:formatCode="yyyy/m/d">
                  <c:v>43916</c:v>
                </c:pt>
                <c:pt idx="4" c:formatCode="yyyy/m/d">
                  <c:v>43917</c:v>
                </c:pt>
                <c:pt idx="5" c:formatCode="yyyy/m/d">
                  <c:v>43918</c:v>
                </c:pt>
                <c:pt idx="6" c:formatCode="yyyy/m/d">
                  <c:v>43919</c:v>
                </c:pt>
              </c:numCache>
            </c:numRef>
          </c:cat>
          <c:val>
            <c:numRef>
              <c:f>Sheet1!$D$93:$D$99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3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99</c:f>
              <c:numCache>
                <c:formatCode>yyyy/m/d</c:formatCode>
                <c:ptCount val="7"/>
                <c:pt idx="0" c:formatCode="yyyy/m/d">
                  <c:v>43913</c:v>
                </c:pt>
                <c:pt idx="1" c:formatCode="yyyy/m/d">
                  <c:v>43914</c:v>
                </c:pt>
                <c:pt idx="2" c:formatCode="yyyy/m/d">
                  <c:v>43915</c:v>
                </c:pt>
                <c:pt idx="3" c:formatCode="yyyy/m/d">
                  <c:v>43916</c:v>
                </c:pt>
                <c:pt idx="4" c:formatCode="yyyy/m/d">
                  <c:v>43917</c:v>
                </c:pt>
                <c:pt idx="5" c:formatCode="yyyy/m/d">
                  <c:v>43918</c:v>
                </c:pt>
                <c:pt idx="6" c:formatCode="yyyy/m/d">
                  <c:v>43919</c:v>
                </c:pt>
              </c:numCache>
            </c:numRef>
          </c:cat>
          <c:val>
            <c:numRef>
              <c:f>Sheet1!$E$93:$E$99</c:f>
              <c:numCache>
                <c:formatCode>0%</c:formatCode>
                <c:ptCount val="7"/>
                <c:pt idx="0">
                  <c:v>0.0392156862745098</c:v>
                </c:pt>
                <c:pt idx="1">
                  <c:v>-0.0555555555555556</c:v>
                </c:pt>
                <c:pt idx="2">
                  <c:v>0.037037037037037</c:v>
                </c:pt>
                <c:pt idx="3">
                  <c:v>-0.0357142857142857</c:v>
                </c:pt>
                <c:pt idx="4">
                  <c:v>0.0535714285714286</c:v>
                </c:pt>
                <c:pt idx="5">
                  <c:v>-0.0338983050847458</c:v>
                </c:pt>
                <c:pt idx="6">
                  <c:v>-0.016666666666666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12</a:t>
            </a:r>
            <a:endParaRPr lang="en-US" altLang="zh-CN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86007139259864"/>
          <c:y val="0.0144927536231884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86:$A$92</c:f>
              <c:numCache>
                <c:formatCode>yyyy/m/d</c:formatCode>
                <c:ptCount val="7"/>
                <c:pt idx="0" c:formatCode="yyyy/m/d">
                  <c:v>43906</c:v>
                </c:pt>
                <c:pt idx="1" c:formatCode="yyyy/m/d">
                  <c:v>43907</c:v>
                </c:pt>
                <c:pt idx="2" c:formatCode="yyyy/m/d">
                  <c:v>43908</c:v>
                </c:pt>
                <c:pt idx="3" c:formatCode="yyyy/m/d">
                  <c:v>43909</c:v>
                </c:pt>
                <c:pt idx="4" c:formatCode="yyyy/m/d">
                  <c:v>43910</c:v>
                </c:pt>
                <c:pt idx="5" c:formatCode="yyyy/m/d">
                  <c:v>43911</c:v>
                </c:pt>
                <c:pt idx="6" c:formatCode="yyyy/m/d">
                  <c:v>43912</c:v>
                </c:pt>
              </c:numCache>
            </c:numRef>
          </c:cat>
          <c:val>
            <c:numRef>
              <c:f>Sheet1!$B$86:$B$92</c:f>
              <c:numCache>
                <c:formatCode>General</c:formatCode>
                <c:ptCount val="7"/>
                <c:pt idx="0">
                  <c:v>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86:$A$92</c:f>
              <c:numCache>
                <c:formatCode>yyyy/m/d</c:formatCode>
                <c:ptCount val="7"/>
                <c:pt idx="0" c:formatCode="yyyy/m/d">
                  <c:v>43906</c:v>
                </c:pt>
                <c:pt idx="1" c:formatCode="yyyy/m/d">
                  <c:v>43907</c:v>
                </c:pt>
                <c:pt idx="2" c:formatCode="yyyy/m/d">
                  <c:v>43908</c:v>
                </c:pt>
                <c:pt idx="3" c:formatCode="yyyy/m/d">
                  <c:v>43909</c:v>
                </c:pt>
                <c:pt idx="4" c:formatCode="yyyy/m/d">
                  <c:v>43910</c:v>
                </c:pt>
                <c:pt idx="5" c:formatCode="yyyy/m/d">
                  <c:v>43911</c:v>
                </c:pt>
                <c:pt idx="6" c:formatCode="yyyy/m/d">
                  <c:v>43912</c:v>
                </c:pt>
              </c:numCache>
            </c:numRef>
          </c:cat>
          <c:val>
            <c:numRef>
              <c:f>Sheet1!$C$86:$C$92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</c:dPt>
          <c:dLbls>
            <c:delete val="1"/>
          </c:dLbls>
          <c:cat>
            <c:numRef>
              <c:f>Sheet1!$A$86:$A$92</c:f>
              <c:numCache>
                <c:formatCode>yyyy/m/d</c:formatCode>
                <c:ptCount val="7"/>
                <c:pt idx="0" c:formatCode="yyyy/m/d">
                  <c:v>43906</c:v>
                </c:pt>
                <c:pt idx="1" c:formatCode="yyyy/m/d">
                  <c:v>43907</c:v>
                </c:pt>
                <c:pt idx="2" c:formatCode="yyyy/m/d">
                  <c:v>43908</c:v>
                </c:pt>
                <c:pt idx="3" c:formatCode="yyyy/m/d">
                  <c:v>43909</c:v>
                </c:pt>
                <c:pt idx="4" c:formatCode="yyyy/m/d">
                  <c:v>43910</c:v>
                </c:pt>
                <c:pt idx="5" c:formatCode="yyyy/m/d">
                  <c:v>43911</c:v>
                </c:pt>
                <c:pt idx="6" c:formatCode="yyyy/m/d">
                  <c:v>43912</c:v>
                </c:pt>
              </c:numCache>
            </c:numRef>
          </c:cat>
          <c:val>
            <c:numRef>
              <c:f>Sheet1!$D$86:$D$92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86:$A$92</c:f>
              <c:numCache>
                <c:formatCode>yyyy/m/d</c:formatCode>
                <c:ptCount val="7"/>
                <c:pt idx="0" c:formatCode="yyyy/m/d">
                  <c:v>43906</c:v>
                </c:pt>
                <c:pt idx="1" c:formatCode="yyyy/m/d">
                  <c:v>43907</c:v>
                </c:pt>
                <c:pt idx="2" c:formatCode="yyyy/m/d">
                  <c:v>43908</c:v>
                </c:pt>
                <c:pt idx="3" c:formatCode="yyyy/m/d">
                  <c:v>43909</c:v>
                </c:pt>
                <c:pt idx="4" c:formatCode="yyyy/m/d">
                  <c:v>43910</c:v>
                </c:pt>
                <c:pt idx="5" c:formatCode="yyyy/m/d">
                  <c:v>43911</c:v>
                </c:pt>
                <c:pt idx="6" c:formatCode="yyyy/m/d">
                  <c:v>43912</c:v>
                </c:pt>
              </c:numCache>
            </c:numRef>
          </c:cat>
          <c:val>
            <c:numRef>
              <c:f>Sheet1!$E$86:$E$92</c:f>
              <c:numCache>
                <c:formatCode>0%</c:formatCode>
                <c:ptCount val="7"/>
                <c:pt idx="0">
                  <c:v>0.0208333333333333</c:v>
                </c:pt>
                <c:pt idx="1">
                  <c:v>-0.0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.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>
                <a:solidFill>
                  <a:schemeClr val="bg1">
                    <a:lumMod val="50000"/>
                  </a:schemeClr>
                </a:solidFill>
              </a:rPr>
              <a:t>Weekly User Activities</a:t>
            </a:r>
            <a:endParaRPr lang="zh-CN" altLang="en-US" sz="1800" b="0" cap="none" baseline="0" dirty="0">
              <a:solidFill>
                <a:schemeClr val="bg1">
                  <a:lumMod val="50000"/>
                </a:schemeClr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88900759882756"/>
          <c:y val="0.0827558864585609"/>
          <c:w val="0.835663882708741"/>
          <c:h val="0.718784931295353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scoverMore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8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7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  <c:pt idx="44">
                  <c:v>3</c:v>
                </c:pt>
                <c:pt idx="45">
                  <c:v>1</c:v>
                </c:pt>
                <c:pt idx="46">
                  <c:v>11</c:v>
                </c:pt>
                <c:pt idx="47">
                  <c:v>3</c:v>
                </c:pt>
                <c:pt idx="48">
                  <c:v>6</c:v>
                </c:pt>
                <c:pt idx="49">
                  <c:v>1</c:v>
                </c:pt>
                <c:pt idx="50">
                  <c:v>6</c:v>
                </c:pt>
              </c:numCache>
            </c:numRef>
          </c:val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C$2:$C$52</c:f>
              <c:numCache>
                <c:formatCode>General</c:formatCode>
                <c:ptCount val="51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1</c:v>
                </c:pt>
                <c:pt idx="45">
                  <c:v>0</c:v>
                </c:pt>
                <c:pt idx="46">
                  <c:v>0</c:v>
                </c:pt>
                <c:pt idx="47">
                  <c:v>1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Lbl>
              <c:idx val="11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21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D$2:$D$52</c:f>
              <c:numCache>
                <c:formatCode>General</c:formatCode>
                <c:ptCount val="51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  <c:pt idx="43">
                  <c:v>0</c:v>
                </c:pt>
                <c:pt idx="44">
                  <c:v>3</c:v>
                </c:pt>
                <c:pt idx="45">
                  <c:v>0</c:v>
                </c:pt>
                <c:pt idx="46">
                  <c:v>0</c:v>
                </c:pt>
                <c:pt idx="47">
                  <c:v>2</c:v>
                </c:pt>
                <c:pt idx="48">
                  <c:v>1</c:v>
                </c:pt>
                <c:pt idx="49">
                  <c:v>0</c:v>
                </c:pt>
                <c:pt idx="50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6179200"/>
        <c:axId val="256193664"/>
      </c:barChart>
      <c:lineChart>
        <c:grouping val="standard"/>
        <c:varyColors val="0"/>
        <c:ser>
          <c:idx val="4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E$2:$E$52</c:f>
              <c:numCache>
                <c:formatCode>0.00%</c:formatCode>
                <c:ptCount val="51"/>
                <c:pt idx="0">
                  <c:v>1</c:v>
                </c:pt>
                <c:pt idx="1">
                  <c:v>9.75</c:v>
                </c:pt>
                <c:pt idx="2">
                  <c:v>0.813953488372093</c:v>
                </c:pt>
                <c:pt idx="3">
                  <c:v>0.423076923076923</c:v>
                </c:pt>
                <c:pt idx="4">
                  <c:v>0.405405405405405</c:v>
                </c:pt>
                <c:pt idx="5">
                  <c:v>0.147435897435897</c:v>
                </c:pt>
                <c:pt idx="6">
                  <c:v>0.357541899441341</c:v>
                </c:pt>
                <c:pt idx="7">
                  <c:v>0.0740740740740741</c:v>
                </c:pt>
                <c:pt idx="8">
                  <c:v>0.0383141762452107</c:v>
                </c:pt>
                <c:pt idx="9">
                  <c:v>0.287822878228782</c:v>
                </c:pt>
                <c:pt idx="10">
                  <c:v>0.0372492836676218</c:v>
                </c:pt>
                <c:pt idx="11">
                  <c:v>0.0248618784530387</c:v>
                </c:pt>
                <c:pt idx="12">
                  <c:v>0.032345013477089</c:v>
                </c:pt>
                <c:pt idx="13">
                  <c:v>0.0156657963446475</c:v>
                </c:pt>
                <c:pt idx="14">
                  <c:v>0.0102827763496144</c:v>
                </c:pt>
                <c:pt idx="15">
                  <c:v>0.00763358778625954</c:v>
                </c:pt>
                <c:pt idx="16">
                  <c:v>0.00757575757575758</c:v>
                </c:pt>
                <c:pt idx="17">
                  <c:v>0.0050125313283208</c:v>
                </c:pt>
                <c:pt idx="18">
                  <c:v>0.00249376558603491</c:v>
                </c:pt>
                <c:pt idx="19">
                  <c:v>0.027363184079602</c:v>
                </c:pt>
                <c:pt idx="20">
                  <c:v>0.026634382566586</c:v>
                </c:pt>
                <c:pt idx="21">
                  <c:v>0.0141509433962264</c:v>
                </c:pt>
                <c:pt idx="22">
                  <c:v>0.0302325581395349</c:v>
                </c:pt>
                <c:pt idx="23">
                  <c:v>0.0135440180586907</c:v>
                </c:pt>
                <c:pt idx="24">
                  <c:v>0.0133630289532294</c:v>
                </c:pt>
                <c:pt idx="25">
                  <c:v>0.0175824175824176</c:v>
                </c:pt>
                <c:pt idx="26">
                  <c:v>0.0107991360691145</c:v>
                </c:pt>
                <c:pt idx="27">
                  <c:v>0.0106837606837607</c:v>
                </c:pt>
                <c:pt idx="28">
                  <c:v>0.0147991543340381</c:v>
                </c:pt>
                <c:pt idx="29">
                  <c:v>0.0125</c:v>
                </c:pt>
                <c:pt idx="30">
                  <c:v>0.0102880658436214</c:v>
                </c:pt>
                <c:pt idx="31">
                  <c:v>0.00814663951120163</c:v>
                </c:pt>
                <c:pt idx="32">
                  <c:v>0.0181818181818182</c:v>
                </c:pt>
                <c:pt idx="33">
                  <c:v>0.00595238095238095</c:v>
                </c:pt>
                <c:pt idx="34">
                  <c:v>0.0177514792899408</c:v>
                </c:pt>
                <c:pt idx="35">
                  <c:v>0.00387596899224806</c:v>
                </c:pt>
                <c:pt idx="36">
                  <c:v>0.00193050193050193</c:v>
                </c:pt>
                <c:pt idx="37">
                  <c:v>0.00192678227360308</c:v>
                </c:pt>
                <c:pt idx="38">
                  <c:v>0.00192307692307692</c:v>
                </c:pt>
                <c:pt idx="39">
                  <c:v>0.00575815738963532</c:v>
                </c:pt>
                <c:pt idx="40">
                  <c:v>0.00190839694656489</c:v>
                </c:pt>
                <c:pt idx="41">
                  <c:v>0.0114285714285714</c:v>
                </c:pt>
                <c:pt idx="42">
                  <c:v>0.00753295668549906</c:v>
                </c:pt>
                <c:pt idx="43">
                  <c:v>0</c:v>
                </c:pt>
                <c:pt idx="44">
                  <c:v>0.0130841121495327</c:v>
                </c:pt>
                <c:pt idx="45">
                  <c:v>0.0018450184501845</c:v>
                </c:pt>
                <c:pt idx="46">
                  <c:v>0.0202578268876611</c:v>
                </c:pt>
                <c:pt idx="47">
                  <c:v>0.0108303249097473</c:v>
                </c:pt>
                <c:pt idx="48">
                  <c:v>0.0125</c:v>
                </c:pt>
                <c:pt idx="49">
                  <c:v>0.0017636684303351</c:v>
                </c:pt>
                <c:pt idx="50">
                  <c:v>0.0158450704225352</c:v>
                </c:pt>
              </c:numCache>
            </c:numRef>
          </c:val>
          <c:smooth val="0"/>
        </c:ser>
        <c:ser>
          <c:idx val="0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F$2:$F$52</c:f>
              <c:numCache>
                <c:formatCode>0.00%</c:formatCode>
                <c:ptCount val="51"/>
                <c:pt idx="0">
                  <c:v>0</c:v>
                </c:pt>
                <c:pt idx="1">
                  <c:v>8.75</c:v>
                </c:pt>
                <c:pt idx="2">
                  <c:v>-0.265354800238521</c:v>
                </c:pt>
                <c:pt idx="3">
                  <c:v>-0.0571428571428571</c:v>
                </c:pt>
                <c:pt idx="4">
                  <c:v>0.363636363636364</c:v>
                </c:pt>
                <c:pt idx="5">
                  <c:v>-0.488888888888889</c:v>
                </c:pt>
                <c:pt idx="6">
                  <c:v>1.78260869565217</c:v>
                </c:pt>
                <c:pt idx="7">
                  <c:v>-0.71875</c:v>
                </c:pt>
                <c:pt idx="8">
                  <c:v>-0.444444444444444</c:v>
                </c:pt>
                <c:pt idx="9">
                  <c:v>6.8</c:v>
                </c:pt>
                <c:pt idx="10">
                  <c:v>-0.833333333333333</c:v>
                </c:pt>
                <c:pt idx="11">
                  <c:v>-0.307692307692308</c:v>
                </c:pt>
                <c:pt idx="12">
                  <c:v>0.333333333333333</c:v>
                </c:pt>
                <c:pt idx="13">
                  <c:v>-0.5</c:v>
                </c:pt>
                <c:pt idx="14">
                  <c:v>-0.333333333333333</c:v>
                </c:pt>
                <c:pt idx="15">
                  <c:v>-0.25</c:v>
                </c:pt>
                <c:pt idx="16">
                  <c:v>0</c:v>
                </c:pt>
                <c:pt idx="17">
                  <c:v>-0.333333333333333</c:v>
                </c:pt>
                <c:pt idx="18">
                  <c:v>-0.5</c:v>
                </c:pt>
                <c:pt idx="19">
                  <c:v>10</c:v>
                </c:pt>
                <c:pt idx="20">
                  <c:v>0</c:v>
                </c:pt>
                <c:pt idx="21">
                  <c:v>-0.454545454545455</c:v>
                </c:pt>
                <c:pt idx="22">
                  <c:v>1.16666666666667</c:v>
                </c:pt>
                <c:pt idx="23">
                  <c:v>-0.538461538461538</c:v>
                </c:pt>
                <c:pt idx="24">
                  <c:v>0</c:v>
                </c:pt>
                <c:pt idx="25">
                  <c:v>0.333333333333333</c:v>
                </c:pt>
                <c:pt idx="26">
                  <c:v>-0.375</c:v>
                </c:pt>
                <c:pt idx="27">
                  <c:v>0</c:v>
                </c:pt>
                <c:pt idx="28">
                  <c:v>0.4</c:v>
                </c:pt>
                <c:pt idx="29">
                  <c:v>-0.142857142857143</c:v>
                </c:pt>
                <c:pt idx="30">
                  <c:v>-0.166666666666667</c:v>
                </c:pt>
                <c:pt idx="31">
                  <c:v>-0.2</c:v>
                </c:pt>
                <c:pt idx="32">
                  <c:v>1.25</c:v>
                </c:pt>
                <c:pt idx="33">
                  <c:v>-0.666666666666667</c:v>
                </c:pt>
                <c:pt idx="34">
                  <c:v>2</c:v>
                </c:pt>
                <c:pt idx="35">
                  <c:v>-0.777777777777778</c:v>
                </c:pt>
                <c:pt idx="36">
                  <c:v>-0.5</c:v>
                </c:pt>
                <c:pt idx="37">
                  <c:v>0</c:v>
                </c:pt>
                <c:pt idx="38">
                  <c:v>0</c:v>
                </c:pt>
                <c:pt idx="39">
                  <c:v>2</c:v>
                </c:pt>
                <c:pt idx="40">
                  <c:v>-0.666666666666667</c:v>
                </c:pt>
                <c:pt idx="41">
                  <c:v>5</c:v>
                </c:pt>
                <c:pt idx="42">
                  <c:v>-0.333333333333333</c:v>
                </c:pt>
                <c:pt idx="43">
                  <c:v>-1</c:v>
                </c:pt>
                <c:pt idx="44">
                  <c:v>0</c:v>
                </c:pt>
                <c:pt idx="45">
                  <c:v>-0.857142857142857</c:v>
                </c:pt>
                <c:pt idx="46">
                  <c:v>10</c:v>
                </c:pt>
                <c:pt idx="47">
                  <c:v>-0.454545454545455</c:v>
                </c:pt>
                <c:pt idx="48">
                  <c:v>0.166666666666667</c:v>
                </c:pt>
                <c:pt idx="49">
                  <c:v>-0.857142857142857</c:v>
                </c:pt>
                <c:pt idx="50">
                  <c:v>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6205568"/>
        <c:axId val="256195584"/>
      </c:lineChart>
      <c:catAx>
        <c:axId val="2561792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3664"/>
        <c:crosses val="autoZero"/>
        <c:auto val="1"/>
        <c:lblAlgn val="ctr"/>
        <c:lblOffset val="100"/>
        <c:noMultiLvlLbl val="0"/>
      </c:catAx>
      <c:valAx>
        <c:axId val="25619366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79200"/>
        <c:crosses val="autoZero"/>
        <c:crossBetween val="between"/>
      </c:valAx>
      <c:catAx>
        <c:axId val="256205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5584"/>
        <c:crosses val="autoZero"/>
        <c:auto val="1"/>
        <c:lblAlgn val="ctr"/>
        <c:lblOffset val="100"/>
        <c:noMultiLvlLbl val="0"/>
      </c:catAx>
      <c:valAx>
        <c:axId val="256195584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20556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User Activities 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2705445270045"/>
          <c:y val="0.131098544500119"/>
          <c:w val="0.790082067206388"/>
          <c:h val="0.560880696731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8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  <c:pt idx="44">
                  <c:v>3</c:v>
                </c:pt>
                <c:pt idx="45">
                  <c:v>1</c:v>
                </c:pt>
                <c:pt idx="46">
                  <c:v>11</c:v>
                </c:pt>
                <c:pt idx="47">
                  <c:v>3</c:v>
                </c:pt>
                <c:pt idx="48">
                  <c:v>6</c:v>
                </c:pt>
                <c:pt idx="49">
                  <c:v>1</c:v>
                </c:pt>
                <c:pt idx="50">
                  <c:v>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C$2:$C$52</c:f>
              <c:numCache>
                <c:formatCode>General</c:formatCode>
                <c:ptCount val="51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1</c:v>
                </c:pt>
                <c:pt idx="45">
                  <c:v>0</c:v>
                </c:pt>
                <c:pt idx="46">
                  <c:v>0</c:v>
                </c:pt>
                <c:pt idx="47">
                  <c:v>1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D$2:$D$52</c:f>
              <c:numCache>
                <c:formatCode>General</c:formatCode>
                <c:ptCount val="51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  <c:pt idx="43">
                  <c:v>0</c:v>
                </c:pt>
                <c:pt idx="44">
                  <c:v>3</c:v>
                </c:pt>
                <c:pt idx="45">
                  <c:v>0</c:v>
                </c:pt>
                <c:pt idx="46">
                  <c:v>0</c:v>
                </c:pt>
                <c:pt idx="47">
                  <c:v>2</c:v>
                </c:pt>
                <c:pt idx="48">
                  <c:v>1</c:v>
                </c:pt>
                <c:pt idx="49">
                  <c:v>0</c:v>
                </c:pt>
                <c:pt idx="50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56557056"/>
        <c:axId val="25656051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E$2:$E$52</c:f>
              <c:numCache>
                <c:formatCode>0</c:formatCode>
                <c:ptCount val="51"/>
                <c:pt idx="0">
                  <c:v>4</c:v>
                </c:pt>
                <c:pt idx="1">
                  <c:v>21.5</c:v>
                </c:pt>
                <c:pt idx="2">
                  <c:v>26</c:v>
                </c:pt>
                <c:pt idx="3">
                  <c:v>27.75</c:v>
                </c:pt>
                <c:pt idx="4">
                  <c:v>31.2</c:v>
                </c:pt>
                <c:pt idx="5">
                  <c:v>29.8333333333333</c:v>
                </c:pt>
                <c:pt idx="6">
                  <c:v>34.7142857142857</c:v>
                </c:pt>
                <c:pt idx="7">
                  <c:v>32.625</c:v>
                </c:pt>
                <c:pt idx="8">
                  <c:v>30.1111111111111</c:v>
                </c:pt>
                <c:pt idx="9">
                  <c:v>34.9</c:v>
                </c:pt>
                <c:pt idx="10">
                  <c:v>32.9090909090909</c:v>
                </c:pt>
                <c:pt idx="11">
                  <c:v>30.9166666666667</c:v>
                </c:pt>
                <c:pt idx="12">
                  <c:v>29.4615384615385</c:v>
                </c:pt>
                <c:pt idx="13">
                  <c:v>27.7857142857143</c:v>
                </c:pt>
                <c:pt idx="14">
                  <c:v>26.2</c:v>
                </c:pt>
                <c:pt idx="15">
                  <c:v>24.75</c:v>
                </c:pt>
                <c:pt idx="16">
                  <c:v>23.4705882352941</c:v>
                </c:pt>
                <c:pt idx="17">
                  <c:v>22.2777777777778</c:v>
                </c:pt>
                <c:pt idx="18">
                  <c:v>21.1578947368421</c:v>
                </c:pt>
                <c:pt idx="19">
                  <c:v>20.7</c:v>
                </c:pt>
                <c:pt idx="20">
                  <c:v>20.2380952380952</c:v>
                </c:pt>
                <c:pt idx="21">
                  <c:v>19.5909090909091</c:v>
                </c:pt>
                <c:pt idx="22">
                  <c:v>19.304347826087</c:v>
                </c:pt>
                <c:pt idx="23">
                  <c:v>18.75</c:v>
                </c:pt>
                <c:pt idx="24">
                  <c:v>18.24</c:v>
                </c:pt>
                <c:pt idx="25">
                  <c:v>17.8461538461538</c:v>
                </c:pt>
                <c:pt idx="26">
                  <c:v>17.3703703703704</c:v>
                </c:pt>
                <c:pt idx="27">
                  <c:v>16.9285714285714</c:v>
                </c:pt>
                <c:pt idx="28">
                  <c:v>16.5862068965517</c:v>
                </c:pt>
                <c:pt idx="29">
                  <c:v>16.2333333333333</c:v>
                </c:pt>
                <c:pt idx="30">
                  <c:v>15.8709677419355</c:v>
                </c:pt>
                <c:pt idx="31">
                  <c:v>15.5</c:v>
                </c:pt>
                <c:pt idx="32">
                  <c:v>15.3030303030303</c:v>
                </c:pt>
                <c:pt idx="33">
                  <c:v>14.9411764705882</c:v>
                </c:pt>
                <c:pt idx="34">
                  <c:v>14.7714285714286</c:v>
                </c:pt>
                <c:pt idx="35">
                  <c:v>14.3888888888889</c:v>
                </c:pt>
                <c:pt idx="36">
                  <c:v>14.027027027027</c:v>
                </c:pt>
                <c:pt idx="37">
                  <c:v>13.6842105263158</c:v>
                </c:pt>
                <c:pt idx="38">
                  <c:v>13.3589743589744</c:v>
                </c:pt>
                <c:pt idx="39">
                  <c:v>13.1</c:v>
                </c:pt>
                <c:pt idx="40">
                  <c:v>12.8048780487805</c:v>
                </c:pt>
                <c:pt idx="41">
                  <c:v>12.6428571428571</c:v>
                </c:pt>
                <c:pt idx="42">
                  <c:v>12.4418604651163</c:v>
                </c:pt>
                <c:pt idx="43">
                  <c:v>12.1590909090909</c:v>
                </c:pt>
                <c:pt idx="44">
                  <c:v>12.0444444444444</c:v>
                </c:pt>
                <c:pt idx="45">
                  <c:v>11.804347826087</c:v>
                </c:pt>
                <c:pt idx="46">
                  <c:v>11.7872340425532</c:v>
                </c:pt>
                <c:pt idx="47">
                  <c:v>11.6666666666667</c:v>
                </c:pt>
                <c:pt idx="48">
                  <c:v>11.5714285714286</c:v>
                </c:pt>
                <c:pt idx="49">
                  <c:v>11.36</c:v>
                </c:pt>
                <c:pt idx="50">
                  <c:v>11.313725490196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0727552"/>
        <c:axId val="260716032"/>
      </c:lineChart>
      <c:dateAx>
        <c:axId val="2565570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>
            <c:manualLayout>
              <c:xMode val="edge"/>
              <c:yMode val="edge"/>
              <c:x val="0.352734649366012"/>
              <c:y val="0.76068002863278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60512"/>
        <c:crosses val="autoZero"/>
        <c:auto val="0"/>
        <c:lblAlgn val="ctr"/>
        <c:lblOffset val="100"/>
        <c:baseTimeUnit val="days"/>
      </c:dateAx>
      <c:valAx>
        <c:axId val="25656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57056"/>
        <c:crosses val="autoZero"/>
        <c:crossBetween val="between"/>
      </c:valAx>
      <c:catAx>
        <c:axId val="260727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16032"/>
        <c:crosses val="autoZero"/>
        <c:auto val="1"/>
        <c:lblAlgn val="ctr"/>
        <c:lblOffset val="100"/>
        <c:noMultiLvlLbl val="0"/>
      </c:catAx>
      <c:valAx>
        <c:axId val="2607160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2755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7164877117633"/>
          <c:w val="1"/>
          <c:h val="0.16465330470054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User Activities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verage Daily  Discover More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E$2:$E$52</c:f>
              <c:numCache>
                <c:formatCode>0.0</c:formatCode>
                <c:ptCount val="51"/>
                <c:pt idx="0">
                  <c:v>0.5</c:v>
                </c:pt>
                <c:pt idx="1">
                  <c:v>2.42857142857143</c:v>
                </c:pt>
                <c:pt idx="2">
                  <c:v>4.42857142857143</c:v>
                </c:pt>
                <c:pt idx="3">
                  <c:v>3.14285714285714</c:v>
                </c:pt>
                <c:pt idx="4">
                  <c:v>4.42857142857143</c:v>
                </c:pt>
                <c:pt idx="5">
                  <c:v>0.857142857142857</c:v>
                </c:pt>
                <c:pt idx="6">
                  <c:v>1.42857142857143</c:v>
                </c:pt>
                <c:pt idx="7">
                  <c:v>0.571428571428571</c:v>
                </c:pt>
                <c:pt idx="8">
                  <c:v>1.14285714285714</c:v>
                </c:pt>
                <c:pt idx="9">
                  <c:v>6.57142857142857</c:v>
                </c:pt>
                <c:pt idx="10">
                  <c:v>1.42857142857143</c:v>
                </c:pt>
                <c:pt idx="11">
                  <c:v>1.28571428571429</c:v>
                </c:pt>
                <c:pt idx="12">
                  <c:v>1.57142857142857</c:v>
                </c:pt>
                <c:pt idx="13">
                  <c:v>0.714285714285714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285714285714286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14285714285714</c:v>
                </c:pt>
                <c:pt idx="20">
                  <c:v>1</c:v>
                </c:pt>
                <c:pt idx="21">
                  <c:v>0.857142857142857</c:v>
                </c:pt>
                <c:pt idx="22">
                  <c:v>1.14285714285714</c:v>
                </c:pt>
                <c:pt idx="23">
                  <c:v>0.714285714285714</c:v>
                </c:pt>
                <c:pt idx="24">
                  <c:v>0.428571428571429</c:v>
                </c:pt>
                <c:pt idx="25">
                  <c:v>0.857142857142857</c:v>
                </c:pt>
                <c:pt idx="26">
                  <c:v>0.285714285714286</c:v>
                </c:pt>
                <c:pt idx="27">
                  <c:v>0.571428571428571</c:v>
                </c:pt>
                <c:pt idx="28">
                  <c:v>0.857142857142857</c:v>
                </c:pt>
                <c:pt idx="29">
                  <c:v>0.428571428571429</c:v>
                </c:pt>
                <c:pt idx="30">
                  <c:v>0.571428571428571</c:v>
                </c:pt>
                <c:pt idx="31">
                  <c:v>0.571428571428571</c:v>
                </c:pt>
                <c:pt idx="32">
                  <c:v>1.14285714285714</c:v>
                </c:pt>
                <c:pt idx="33">
                  <c:v>0.285714285714286</c:v>
                </c:pt>
                <c:pt idx="34">
                  <c:v>0.714285714285714</c:v>
                </c:pt>
                <c:pt idx="35">
                  <c:v>0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428571428571429</c:v>
                </c:pt>
                <c:pt idx="42">
                  <c:v>0.571428571428571</c:v>
                </c:pt>
                <c:pt idx="43">
                  <c:v>0</c:v>
                </c:pt>
                <c:pt idx="44">
                  <c:v>0.428571428571429</c:v>
                </c:pt>
                <c:pt idx="45">
                  <c:v>0.142857142857143</c:v>
                </c:pt>
                <c:pt idx="46">
                  <c:v>1.57142857142857</c:v>
                </c:pt>
                <c:pt idx="47">
                  <c:v>0.428571428571429</c:v>
                </c:pt>
                <c:pt idx="48">
                  <c:v>0.857142857142857</c:v>
                </c:pt>
                <c:pt idx="49">
                  <c:v>0.142857142857143</c:v>
                </c:pt>
                <c:pt idx="50">
                  <c:v>0.857142857142857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Average Daily Contact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F$2:$F$52</c:f>
              <c:numCache>
                <c:formatCode>0.0</c:formatCode>
                <c:ptCount val="51"/>
                <c:pt idx="0">
                  <c:v>1</c:v>
                </c:pt>
                <c:pt idx="1">
                  <c:v>1.42857142857143</c:v>
                </c:pt>
                <c:pt idx="2">
                  <c:v>0.285714285714286</c:v>
                </c:pt>
                <c:pt idx="3">
                  <c:v>0.571428571428571</c:v>
                </c:pt>
                <c:pt idx="4">
                  <c:v>1.28571428571429</c:v>
                </c:pt>
                <c:pt idx="5">
                  <c:v>1</c:v>
                </c:pt>
                <c:pt idx="6">
                  <c:v>5.85714285714286</c:v>
                </c:pt>
                <c:pt idx="7">
                  <c:v>0.857142857142857</c:v>
                </c:pt>
                <c:pt idx="8">
                  <c:v>0.142857142857143</c:v>
                </c:pt>
                <c:pt idx="9">
                  <c:v>1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.285714285714286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.142857142857143</c:v>
                </c:pt>
                <c:pt idx="25">
                  <c:v>0.142857142857143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.142857142857143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.142857142857143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  <c:pt idx="43">
                  <c:v>0</c:v>
                </c:pt>
                <c:pt idx="44">
                  <c:v>0.142857142857143</c:v>
                </c:pt>
                <c:pt idx="45">
                  <c:v>0</c:v>
                </c:pt>
                <c:pt idx="46">
                  <c:v>0</c:v>
                </c:pt>
                <c:pt idx="47">
                  <c:v>0.142857142857143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Average Daily 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G$2:$G$52</c:f>
              <c:numCache>
                <c:formatCode>0.0</c:formatCode>
                <c:ptCount val="51"/>
                <c:pt idx="0">
                  <c:v>0.5</c:v>
                </c:pt>
                <c:pt idx="1">
                  <c:v>1.71428571428571</c:v>
                </c:pt>
                <c:pt idx="2">
                  <c:v>0.285714285714286</c:v>
                </c:pt>
                <c:pt idx="3">
                  <c:v>1</c:v>
                </c:pt>
                <c:pt idx="4">
                  <c:v>0.714285714285714</c:v>
                </c:pt>
                <c:pt idx="5">
                  <c:v>1.42857142857143</c:v>
                </c:pt>
                <c:pt idx="6">
                  <c:v>1.85714285714286</c:v>
                </c:pt>
                <c:pt idx="7">
                  <c:v>1.14285714285714</c:v>
                </c:pt>
                <c:pt idx="8">
                  <c:v>0.142857142857143</c:v>
                </c:pt>
                <c:pt idx="9">
                  <c:v>3.57142857142857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.142857142857143</c:v>
                </c:pt>
                <c:pt idx="14">
                  <c:v>0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</c:v>
                </c:pt>
                <c:pt idx="19">
                  <c:v>0.571428571428571</c:v>
                </c:pt>
                <c:pt idx="20">
                  <c:v>0.285714285714286</c:v>
                </c:pt>
                <c:pt idx="21">
                  <c:v>0</c:v>
                </c:pt>
                <c:pt idx="22">
                  <c:v>0.714285714285714</c:v>
                </c:pt>
                <c:pt idx="23">
                  <c:v>0.142857142857143</c:v>
                </c:pt>
                <c:pt idx="24">
                  <c:v>0.285714285714286</c:v>
                </c:pt>
                <c:pt idx="25">
                  <c:v>0.142857142857143</c:v>
                </c:pt>
                <c:pt idx="26">
                  <c:v>0.285714285714286</c:v>
                </c:pt>
                <c:pt idx="27">
                  <c:v>0.142857142857143</c:v>
                </c:pt>
                <c:pt idx="28">
                  <c:v>0.142857142857143</c:v>
                </c:pt>
                <c:pt idx="29">
                  <c:v>0.285714285714286</c:v>
                </c:pt>
                <c:pt idx="30">
                  <c:v>0.142857142857143</c:v>
                </c:pt>
                <c:pt idx="31">
                  <c:v>0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428571428571429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285714285714286</c:v>
                </c:pt>
                <c:pt idx="42">
                  <c:v>0</c:v>
                </c:pt>
                <c:pt idx="43">
                  <c:v>0</c:v>
                </c:pt>
                <c:pt idx="44">
                  <c:v>0.428571428571429</c:v>
                </c:pt>
                <c:pt idx="45">
                  <c:v>0</c:v>
                </c:pt>
                <c:pt idx="46">
                  <c:v>0</c:v>
                </c:pt>
                <c:pt idx="47">
                  <c:v>0.285714285714286</c:v>
                </c:pt>
                <c:pt idx="48">
                  <c:v>0.142857142857143</c:v>
                </c:pt>
                <c:pt idx="49">
                  <c:v>0</c:v>
                </c:pt>
                <c:pt idx="50">
                  <c:v>0.42857142857142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1423104"/>
        <c:axId val="26142502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H$2:$H$52</c:f>
              <c:numCache>
                <c:formatCode>0</c:formatCode>
                <c:ptCount val="51"/>
                <c:pt idx="0">
                  <c:v>2</c:v>
                </c:pt>
                <c:pt idx="1">
                  <c:v>5.57142857142857</c:v>
                </c:pt>
                <c:pt idx="2">
                  <c:v>5</c:v>
                </c:pt>
                <c:pt idx="3">
                  <c:v>4.71428571428571</c:v>
                </c:pt>
                <c:pt idx="4">
                  <c:v>6.42857142857143</c:v>
                </c:pt>
                <c:pt idx="5">
                  <c:v>3.28571428571429</c:v>
                </c:pt>
                <c:pt idx="6">
                  <c:v>9.14285714285714</c:v>
                </c:pt>
                <c:pt idx="7">
                  <c:v>2.57142857142857</c:v>
                </c:pt>
                <c:pt idx="8">
                  <c:v>1.42857142857143</c:v>
                </c:pt>
                <c:pt idx="9">
                  <c:v>11.1428571428571</c:v>
                </c:pt>
                <c:pt idx="10">
                  <c:v>1.85714285714286</c:v>
                </c:pt>
                <c:pt idx="11">
                  <c:v>1.28571428571429</c:v>
                </c:pt>
                <c:pt idx="12">
                  <c:v>1.71428571428571</c:v>
                </c:pt>
                <c:pt idx="13">
                  <c:v>0.857142857142857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428571428571429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71428571428571</c:v>
                </c:pt>
                <c:pt idx="20">
                  <c:v>1.57142857142857</c:v>
                </c:pt>
                <c:pt idx="21">
                  <c:v>0.857142857142857</c:v>
                </c:pt>
                <c:pt idx="22">
                  <c:v>1.85714285714286</c:v>
                </c:pt>
                <c:pt idx="23">
                  <c:v>0.857142857142857</c:v>
                </c:pt>
                <c:pt idx="24">
                  <c:v>0.857142857142857</c:v>
                </c:pt>
                <c:pt idx="25">
                  <c:v>1.14285714285714</c:v>
                </c:pt>
                <c:pt idx="26">
                  <c:v>0.714285714285714</c:v>
                </c:pt>
                <c:pt idx="27">
                  <c:v>0.714285714285714</c:v>
                </c:pt>
                <c:pt idx="28">
                  <c:v>1</c:v>
                </c:pt>
                <c:pt idx="29">
                  <c:v>0.857142857142857</c:v>
                </c:pt>
                <c:pt idx="30">
                  <c:v>0.714285714285714</c:v>
                </c:pt>
                <c:pt idx="31">
                  <c:v>0.571428571428571</c:v>
                </c:pt>
                <c:pt idx="32">
                  <c:v>1.28571428571428</c:v>
                </c:pt>
                <c:pt idx="33">
                  <c:v>0.428571428571429</c:v>
                </c:pt>
                <c:pt idx="34">
                  <c:v>1.28571428571429</c:v>
                </c:pt>
                <c:pt idx="35">
                  <c:v>0.285714285714286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857142857142857</c:v>
                </c:pt>
                <c:pt idx="42">
                  <c:v>0.571428571428571</c:v>
                </c:pt>
                <c:pt idx="43">
                  <c:v>0</c:v>
                </c:pt>
                <c:pt idx="44">
                  <c:v>1</c:v>
                </c:pt>
                <c:pt idx="45">
                  <c:v>0.142857142857143</c:v>
                </c:pt>
                <c:pt idx="46">
                  <c:v>1.57142857142857</c:v>
                </c:pt>
                <c:pt idx="47">
                  <c:v>0.857142857142857</c:v>
                </c:pt>
                <c:pt idx="48">
                  <c:v>1</c:v>
                </c:pt>
                <c:pt idx="49">
                  <c:v>0.142857142857143</c:v>
                </c:pt>
                <c:pt idx="50">
                  <c:v>1.2857142857142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69696"/>
        <c:axId val="261468160"/>
      </c:lineChart>
      <c:dateAx>
        <c:axId val="261423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5024"/>
        <c:crosses val="autoZero"/>
        <c:auto val="0"/>
        <c:lblAlgn val="ctr"/>
        <c:lblOffset val="100"/>
        <c:baseTimeUnit val="days"/>
      </c:dateAx>
      <c:valAx>
        <c:axId val="26142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3104"/>
        <c:crosses val="autoZero"/>
        <c:crossBetween val="between"/>
      </c:valAx>
      <c:catAx>
        <c:axId val="2614696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8160"/>
        <c:crosses val="autoZero"/>
        <c:auto val="1"/>
        <c:lblAlgn val="ctr"/>
        <c:lblOffset val="100"/>
        <c:noMultiLvlLbl val="0"/>
      </c:catAx>
      <c:valAx>
        <c:axId val="26146816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969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none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Weekly Downloads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2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25</c:v>
                </c:pt>
                <c:pt idx="43">
                  <c:v>8</c:v>
                </c:pt>
                <c:pt idx="44">
                  <c:v>2</c:v>
                </c:pt>
                <c:pt idx="45">
                  <c:v>17</c:v>
                </c:pt>
                <c:pt idx="46">
                  <c:v>9</c:v>
                </c:pt>
                <c:pt idx="47">
                  <c:v>15</c:v>
                </c:pt>
                <c:pt idx="48">
                  <c:v>20</c:v>
                </c:pt>
                <c:pt idx="49">
                  <c:v>11</c:v>
                </c:pt>
                <c:pt idx="50">
                  <c:v>1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C$2:$C$52</c:f>
              <c:numCache>
                <c:formatCode>General</c:formatCode>
                <c:ptCount val="51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7</c:v>
                </c:pt>
                <c:pt idx="43">
                  <c:v>5</c:v>
                </c:pt>
                <c:pt idx="44">
                  <c:v>5</c:v>
                </c:pt>
                <c:pt idx="45">
                  <c:v>0</c:v>
                </c:pt>
                <c:pt idx="46">
                  <c:v>2</c:v>
                </c:pt>
                <c:pt idx="47">
                  <c:v>4</c:v>
                </c:pt>
                <c:pt idx="48">
                  <c:v>1</c:v>
                </c:pt>
                <c:pt idx="49">
                  <c:v>2</c:v>
                </c:pt>
                <c:pt idx="50">
                  <c:v>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Lbl>
              <c:idx val="9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D$2:$D$52</c:f>
              <c:numCache>
                <c:formatCode>General</c:formatCode>
                <c:ptCount val="51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533312"/>
        <c:axId val="201543680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E$2:$E$52</c:f>
              <c:numCache>
                <c:formatCode>0.00%</c:formatCode>
                <c:ptCount val="51"/>
                <c:pt idx="0">
                  <c:v>0</c:v>
                </c:pt>
                <c:pt idx="1">
                  <c:v>6.875</c:v>
                </c:pt>
                <c:pt idx="2">
                  <c:v>0.444444444444444</c:v>
                </c:pt>
                <c:pt idx="3">
                  <c:v>0.241758241758242</c:v>
                </c:pt>
                <c:pt idx="4">
                  <c:v>0.36283185840708</c:v>
                </c:pt>
                <c:pt idx="5">
                  <c:v>0.25974025974026</c:v>
                </c:pt>
                <c:pt idx="6">
                  <c:v>0.139175257731959</c:v>
                </c:pt>
                <c:pt idx="7">
                  <c:v>0.0904977375565611</c:v>
                </c:pt>
                <c:pt idx="8">
                  <c:v>0.199170124481328</c:v>
                </c:pt>
                <c:pt idx="9">
                  <c:v>0.532871972318339</c:v>
                </c:pt>
                <c:pt idx="10">
                  <c:v>0.0519187358916479</c:v>
                </c:pt>
                <c:pt idx="11">
                  <c:v>0.0579399141630901</c:v>
                </c:pt>
                <c:pt idx="12">
                  <c:v>0.0391752577319588</c:v>
                </c:pt>
                <c:pt idx="13">
                  <c:v>0.0467706013363029</c:v>
                </c:pt>
                <c:pt idx="14">
                  <c:v>0.0429864253393665</c:v>
                </c:pt>
                <c:pt idx="15">
                  <c:v>0.0341685649202733</c:v>
                </c:pt>
                <c:pt idx="16">
                  <c:v>0.0411622276029056</c:v>
                </c:pt>
                <c:pt idx="17">
                  <c:v>0.0641025641025641</c:v>
                </c:pt>
                <c:pt idx="18">
                  <c:v>0.0231958762886598</c:v>
                </c:pt>
                <c:pt idx="19">
                  <c:v>0.10079575596817</c:v>
                </c:pt>
                <c:pt idx="20">
                  <c:v>0.106267029972752</c:v>
                </c:pt>
                <c:pt idx="21">
                  <c:v>0.0952380952380952</c:v>
                </c:pt>
                <c:pt idx="22">
                  <c:v>0.110671936758893</c:v>
                </c:pt>
                <c:pt idx="23">
                  <c:v>0.0905511811023622</c:v>
                </c:pt>
                <c:pt idx="24">
                  <c:v>0.108527131782946</c:v>
                </c:pt>
                <c:pt idx="25">
                  <c:v>0.0792452830188679</c:v>
                </c:pt>
                <c:pt idx="26">
                  <c:v>0.052434456928839</c:v>
                </c:pt>
                <c:pt idx="27">
                  <c:v>0.0526315789473684</c:v>
                </c:pt>
                <c:pt idx="28">
                  <c:v>0.0608365019011407</c:v>
                </c:pt>
                <c:pt idx="29">
                  <c:v>0.0984251968503937</c:v>
                </c:pt>
                <c:pt idx="30">
                  <c:v>0.0666666666666667</c:v>
                </c:pt>
                <c:pt idx="31">
                  <c:v>0.08</c:v>
                </c:pt>
                <c:pt idx="32">
                  <c:v>0.12987012987013</c:v>
                </c:pt>
                <c:pt idx="33">
                  <c:v>0.0843881856540084</c:v>
                </c:pt>
                <c:pt idx="34">
                  <c:v>0.131004366812227</c:v>
                </c:pt>
                <c:pt idx="35">
                  <c:v>0.0805084745762712</c:v>
                </c:pt>
                <c:pt idx="36">
                  <c:v>0.0616740088105727</c:v>
                </c:pt>
                <c:pt idx="37">
                  <c:v>0.0545454545454545</c:v>
                </c:pt>
                <c:pt idx="38">
                  <c:v>0.114678899082569</c:v>
                </c:pt>
                <c:pt idx="39">
                  <c:v>0.0524017467248908</c:v>
                </c:pt>
                <c:pt idx="40">
                  <c:v>0.04</c:v>
                </c:pt>
                <c:pt idx="41">
                  <c:v>0.157894736842105</c:v>
                </c:pt>
                <c:pt idx="42">
                  <c:v>0.142857142857143</c:v>
                </c:pt>
                <c:pt idx="43">
                  <c:v>0.0550847457627119</c:v>
                </c:pt>
                <c:pt idx="44">
                  <c:v>0.0319634703196347</c:v>
                </c:pt>
                <c:pt idx="45">
                  <c:v>0.0825242718446602</c:v>
                </c:pt>
                <c:pt idx="46">
                  <c:v>0.0569948186528497</c:v>
                </c:pt>
                <c:pt idx="47">
                  <c:v>0.102702702702703</c:v>
                </c:pt>
                <c:pt idx="48">
                  <c:v>0.110526315789474</c:v>
                </c:pt>
                <c:pt idx="49">
                  <c:v>0.0653266331658292</c:v>
                </c:pt>
                <c:pt idx="50">
                  <c:v>0.0962566844919786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F$2:$F$52</c:f>
              <c:numCache>
                <c:formatCode>0.00%</c:formatCode>
                <c:ptCount val="51"/>
                <c:pt idx="0">
                  <c:v>0</c:v>
                </c:pt>
                <c:pt idx="1">
                  <c:v>5.875</c:v>
                </c:pt>
                <c:pt idx="2">
                  <c:v>-0.490909090909091</c:v>
                </c:pt>
                <c:pt idx="3">
                  <c:v>-0.214285714285714</c:v>
                </c:pt>
                <c:pt idx="4">
                  <c:v>0.863636363636364</c:v>
                </c:pt>
                <c:pt idx="5">
                  <c:v>-0.024390243902439</c:v>
                </c:pt>
                <c:pt idx="6">
                  <c:v>-0.325</c:v>
                </c:pt>
                <c:pt idx="7">
                  <c:v>-0.259259259259259</c:v>
                </c:pt>
                <c:pt idx="8">
                  <c:v>1.4</c:v>
                </c:pt>
                <c:pt idx="9">
                  <c:v>2.20833333333333</c:v>
                </c:pt>
                <c:pt idx="10">
                  <c:v>-0.850649350649351</c:v>
                </c:pt>
                <c:pt idx="11">
                  <c:v>0.173913043478261</c:v>
                </c:pt>
                <c:pt idx="12">
                  <c:v>-0.296296296296296</c:v>
                </c:pt>
                <c:pt idx="13">
                  <c:v>0.105263157894737</c:v>
                </c:pt>
                <c:pt idx="14">
                  <c:v>-0.0952380952380952</c:v>
                </c:pt>
                <c:pt idx="15">
                  <c:v>-0.210526315789474</c:v>
                </c:pt>
                <c:pt idx="16">
                  <c:v>0.133333333333333</c:v>
                </c:pt>
                <c:pt idx="17">
                  <c:v>0.470588235294118</c:v>
                </c:pt>
                <c:pt idx="18">
                  <c:v>-0.64</c:v>
                </c:pt>
                <c:pt idx="19">
                  <c:v>3.22222222222222</c:v>
                </c:pt>
                <c:pt idx="20">
                  <c:v>0.0263157894736842</c:v>
                </c:pt>
                <c:pt idx="21">
                  <c:v>-0.384615384615385</c:v>
                </c:pt>
                <c:pt idx="22">
                  <c:v>0.166666666666667</c:v>
                </c:pt>
                <c:pt idx="23">
                  <c:v>-0.178571428571429</c:v>
                </c:pt>
                <c:pt idx="24">
                  <c:v>0.217391304347826</c:v>
                </c:pt>
                <c:pt idx="25">
                  <c:v>-0.25</c:v>
                </c:pt>
                <c:pt idx="26">
                  <c:v>-0.333333333333333</c:v>
                </c:pt>
                <c:pt idx="27">
                  <c:v>0</c:v>
                </c:pt>
                <c:pt idx="28">
                  <c:v>0.142857142857143</c:v>
                </c:pt>
                <c:pt idx="29">
                  <c:v>0.5625</c:v>
                </c:pt>
                <c:pt idx="30">
                  <c:v>-0.28</c:v>
                </c:pt>
                <c:pt idx="31">
                  <c:v>0.111111111111111</c:v>
                </c:pt>
                <c:pt idx="32">
                  <c:v>0.5</c:v>
                </c:pt>
                <c:pt idx="33">
                  <c:v>-0.333333333333333</c:v>
                </c:pt>
                <c:pt idx="34">
                  <c:v>0.5</c:v>
                </c:pt>
                <c:pt idx="35">
                  <c:v>-0.366666666666667</c:v>
                </c:pt>
                <c:pt idx="36">
                  <c:v>-0.263157894736842</c:v>
                </c:pt>
                <c:pt idx="37">
                  <c:v>-0.142857142857143</c:v>
                </c:pt>
                <c:pt idx="38">
                  <c:v>1.08333333333333</c:v>
                </c:pt>
                <c:pt idx="39">
                  <c:v>-0.52</c:v>
                </c:pt>
                <c:pt idx="40">
                  <c:v>-0.25</c:v>
                </c:pt>
                <c:pt idx="41">
                  <c:v>2.66666666666667</c:v>
                </c:pt>
                <c:pt idx="42">
                  <c:v>-0.0303030303030303</c:v>
                </c:pt>
                <c:pt idx="43">
                  <c:v>-0.59375</c:v>
                </c:pt>
                <c:pt idx="44">
                  <c:v>-0.461538461538462</c:v>
                </c:pt>
                <c:pt idx="45">
                  <c:v>1.42857142857143</c:v>
                </c:pt>
                <c:pt idx="46">
                  <c:v>-0.352941176470588</c:v>
                </c:pt>
                <c:pt idx="47">
                  <c:v>0.727272727272727</c:v>
                </c:pt>
                <c:pt idx="48">
                  <c:v>0.105263157894737</c:v>
                </c:pt>
                <c:pt idx="49">
                  <c:v>-0.380952380952381</c:v>
                </c:pt>
                <c:pt idx="50">
                  <c:v>0.38461538461538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1547136"/>
        <c:axId val="201545600"/>
      </c:lineChart>
      <c:catAx>
        <c:axId val="2015333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-2020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3680"/>
        <c:crosses val="autoZero"/>
        <c:auto val="1"/>
        <c:lblAlgn val="ctr"/>
        <c:lblOffset val="100"/>
        <c:noMultiLvlLbl val="0"/>
      </c:catAx>
      <c:valAx>
        <c:axId val="2015436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33312"/>
        <c:crosses val="autoZero"/>
        <c:crossBetween val="between"/>
      </c:valAx>
      <c:catAx>
        <c:axId val="201547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5600"/>
        <c:crosses val="autoZero"/>
        <c:auto val="1"/>
        <c:lblAlgn val="ctr"/>
        <c:lblOffset val="100"/>
        <c:noMultiLvlLbl val="0"/>
      </c:catAx>
      <c:valAx>
        <c:axId val="201545600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713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Monthly User Activities</a:t>
            </a:r>
            <a:endParaRPr lang="zh-CN" altLang="zh-CN" sz="1800" b="0" i="0" u="none" strike="noStrike" kern="1200" spc="0" baseline="0" dirty="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57</c:v>
                </c:pt>
                <c:pt idx="1">
                  <c:v>65</c:v>
                </c:pt>
                <c:pt idx="2">
                  <c:v>73</c:v>
                </c:pt>
                <c:pt idx="3">
                  <c:v>25</c:v>
                </c:pt>
                <c:pt idx="4">
                  <c:v>17</c:v>
                </c:pt>
                <c:pt idx="5">
                  <c:v>23</c:v>
                </c:pt>
                <c:pt idx="6">
                  <c:v>18</c:v>
                </c:pt>
                <c:pt idx="7">
                  <c:v>20</c:v>
                </c:pt>
                <c:pt idx="8">
                  <c:v>7</c:v>
                </c:pt>
                <c:pt idx="9">
                  <c:v>12</c:v>
                </c:pt>
                <c:pt idx="10">
                  <c:v>12</c:v>
                </c:pt>
                <c:pt idx="11">
                  <c:v>1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</c:dLbl>
            <c:dLbl>
              <c:idx val="5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35705b30-746c-4c3e-81f9-7e32ea93dcbe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409ef252-89f1-475e-8b5c-bc3b7346fc69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15</c:v>
                </c:pt>
                <c:pt idx="1">
                  <c:v>65</c:v>
                </c:pt>
                <c:pt idx="2">
                  <c:v>10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3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85df706c-771d-4300-83d4-f4ab7be207c0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eb34a476-3892-4c0f-8153-118eb888d2cf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16</c:v>
                </c:pt>
                <c:pt idx="1">
                  <c:v>40</c:v>
                </c:pt>
                <c:pt idx="2">
                  <c:v>30</c:v>
                </c:pt>
                <c:pt idx="3">
                  <c:v>2</c:v>
                </c:pt>
                <c:pt idx="4">
                  <c:v>7</c:v>
                </c:pt>
                <c:pt idx="5">
                  <c:v>8</c:v>
                </c:pt>
                <c:pt idx="6">
                  <c:v>7</c:v>
                </c:pt>
                <c:pt idx="7">
                  <c:v>3</c:v>
                </c:pt>
                <c:pt idx="8">
                  <c:v>4</c:v>
                </c:pt>
                <c:pt idx="9">
                  <c:v>2</c:v>
                </c:pt>
                <c:pt idx="10">
                  <c:v>3</c:v>
                </c:pt>
                <c:pt idx="11">
                  <c:v>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05595008"/>
        <c:axId val="205617408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1.93181818181818</c:v>
                </c:pt>
                <c:pt idx="2" c:formatCode="0%">
                  <c:v>0.437984496124031</c:v>
                </c:pt>
                <c:pt idx="3" c:formatCode="0%">
                  <c:v>0.0727762803234501</c:v>
                </c:pt>
                <c:pt idx="4" c:formatCode="0%">
                  <c:v>0.0653266331658292</c:v>
                </c:pt>
                <c:pt idx="5" c:formatCode="0%">
                  <c:v>0.0754716981132075</c:v>
                </c:pt>
                <c:pt idx="6" c:formatCode="0%">
                  <c:v>0.0592105263157895</c:v>
                </c:pt>
                <c:pt idx="7" c:formatCode="0%">
                  <c:v>0.0496894409937888</c:v>
                </c:pt>
                <c:pt idx="8" c:formatCode="0%">
                  <c:v>0.0256410256410256</c:v>
                </c:pt>
                <c:pt idx="9" c:formatCode="0%">
                  <c:v>0.0288461538461538</c:v>
                </c:pt>
                <c:pt idx="10" c:formatCode="0%">
                  <c:v>0.0299065420560748</c:v>
                </c:pt>
                <c:pt idx="11" c:formatCode="0%">
                  <c:v>0.0471869328493648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>
                <a:solidFill>
                  <a:srgbClr val="898989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F$2:$F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0.931818181818182</c:v>
                </c:pt>
                <c:pt idx="2" c:formatCode="0%">
                  <c:v>-0.335294117647059</c:v>
                </c:pt>
                <c:pt idx="3" c:formatCode="0%">
                  <c:v>-0.761061946902655</c:v>
                </c:pt>
                <c:pt idx="4" c:formatCode="0%">
                  <c:v>-0.037037037037037</c:v>
                </c:pt>
                <c:pt idx="5" c:formatCode="0%">
                  <c:v>0.230769230769231</c:v>
                </c:pt>
                <c:pt idx="6" c:formatCode="0%">
                  <c:v>-0.15625</c:v>
                </c:pt>
                <c:pt idx="7" c:formatCode="0%">
                  <c:v>-0.111111111111111</c:v>
                </c:pt>
                <c:pt idx="8" c:formatCode="0%">
                  <c:v>-0.458333333333333</c:v>
                </c:pt>
                <c:pt idx="9" c:formatCode="0%">
                  <c:v>0.153846153846154</c:v>
                </c:pt>
                <c:pt idx="10" c:formatCode="0%">
                  <c:v>0.0666666666666667</c:v>
                </c:pt>
                <c:pt idx="11" c:formatCode="0%">
                  <c:v>0.62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731712"/>
        <c:axId val="205726080"/>
      </c:lineChart>
      <c:catAx>
        <c:axId val="205595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17408"/>
        <c:crosses val="autoZero"/>
        <c:auto val="1"/>
        <c:lblAlgn val="ctr"/>
        <c:lblOffset val="100"/>
        <c:noMultiLvlLbl val="0"/>
      </c:catAx>
      <c:valAx>
        <c:axId val="2056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595008"/>
        <c:crosses val="autoZero"/>
        <c:crossBetween val="between"/>
      </c:valAx>
      <c:catAx>
        <c:axId val="205731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080"/>
        <c:crosses val="autoZero"/>
        <c:auto val="1"/>
        <c:lblAlgn val="ctr"/>
        <c:lblOffset val="100"/>
        <c:noMultiLvlLbl val="0"/>
      </c:catAx>
      <c:valAx>
        <c:axId val="20572608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3171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User Activities Proportions Overview </a:t>
            </a:r>
            <a:endParaRPr lang="en-US" b="0" dirty="0">
              <a:solidFill>
                <a:schemeClr val="bg1">
                  <a:lumMod val="50000"/>
                </a:schemeClr>
              </a:solidFill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ser Activities Propotions Overview </c:v>
                </c:pt>
              </c:strCache>
            </c:strRef>
          </c:tx>
          <c:spPr/>
          <c:explosion val="0"/>
          <c:dPt>
            <c:idx val="0"/>
            <c:bubble3D val="0"/>
            <c:spPr>
              <a:solidFill>
                <a:srgbClr val="C6C6C6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575757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rgbClr val="BB0A30"/>
              </a:solidFill>
              <a:ln>
                <a:noFill/>
              </a:ln>
              <a:effectLst/>
            </c:spPr>
          </c:dPt>
          <c:dLbls>
            <c:numFmt formatCode="0%" sourceLinked="0"/>
            <c:spPr>
              <a:noFill/>
              <a:ln w="17416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235" b="0" i="0" u="none" strike="noStrike" kern="1200" baseline="0">
                    <a:solidFill>
                      <a:schemeClr val="tx1"/>
                    </a:solidFill>
                    <a:latin typeface="+mj-lt"/>
                    <a:ea typeface="Arial" panose="020B0604020202020204"/>
                    <a:cs typeface="Arial" panose="020B0604020202020204"/>
                  </a:defRPr>
                </a:pPr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Discover More</c:v>
                </c:pt>
                <c:pt idx="1">
                  <c:v>Contact</c:v>
                </c:pt>
                <c:pt idx="2">
                  <c:v>Request Test Driv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48</c:v>
                </c:pt>
                <c:pt idx="1">
                  <c:v>101</c:v>
                </c:pt>
                <c:pt idx="2">
                  <c:v>12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 w="17416">
          <a:noFill/>
        </a:ln>
        <a:effectLst/>
      </c:spPr>
    </c:plotArea>
    <c:legend>
      <c:legendPos val="r"/>
      <c:layout/>
      <c:overlay val="0"/>
      <c:spPr>
        <a:noFill/>
        <a:ln w="8708">
          <a:solidFill>
            <a:srgbClr val="FFFFFF"/>
          </a:solidFill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rgbClr val="000000"/>
              </a:solidFill>
              <a:latin typeface="+mn-lt"/>
              <a:ea typeface="Heiti SC Light"/>
              <a:cs typeface="Heiti SC Light"/>
            </a:defRPr>
          </a:pPr>
        </a:p>
      </c:txPr>
    </c:legend>
    <c:plotVisOnly val="1"/>
    <c:dispBlanksAs val="zero"/>
    <c:showDLblsOverMax val="0"/>
  </c:chart>
  <c:spPr>
    <a:noFill/>
    <a:ln w="9525" cap="flat" cmpd="sng" algn="ctr">
      <a:solidFill>
        <a:srgbClr val="8C8C8C"/>
      </a:solidFill>
      <a:prstDash val="solid"/>
    </a:ln>
    <a:effectLst/>
  </c:spPr>
  <c:txPr>
    <a:bodyPr/>
    <a:lstStyle/>
    <a:p>
      <a:pPr>
        <a:defRPr lang="zh-CN" sz="1235" b="0" i="0" u="none" strike="noStrike" baseline="0">
          <a:solidFill>
            <a:srgbClr val="000000"/>
          </a:solidFill>
          <a:latin typeface="VW Headline OT-Book"/>
          <a:ea typeface="VW Headline OT-Book"/>
          <a:cs typeface="VW Headline OT-Book"/>
        </a:defRPr>
      </a:pPr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User Preferred Charging Destination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485465620947599"/>
          <c:y val="0.0944517901985103"/>
          <c:w val="0.88298045754743"/>
          <c:h val="0.71878493129535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C$2:$C$52</c:f>
              <c:numCache>
                <c:formatCode>General</c:formatCode>
                <c:ptCount val="51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D$2:$D$52</c:f>
              <c:numCache>
                <c:formatCode>General</c:formatCode>
                <c:ptCount val="51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E$2:$E$52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F$2:$F$52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6881920"/>
        <c:axId val="206901632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G$2:$G$52</c:f>
              <c:numCache>
                <c:formatCode>0%</c:formatCode>
                <c:ptCount val="51"/>
                <c:pt idx="0">
                  <c:v>#N/A</c:v>
                </c:pt>
                <c:pt idx="1">
                  <c:v>#N/A</c:v>
                </c:pt>
                <c:pt idx="2" c:formatCode="0.00%">
                  <c:v>0</c:v>
                </c:pt>
                <c:pt idx="3" c:formatCode="0.00%">
                  <c:v>0.125</c:v>
                </c:pt>
                <c:pt idx="4" c:formatCode="0.00%">
                  <c:v>0.111111111111111</c:v>
                </c:pt>
                <c:pt idx="5" c:formatCode="0.00%">
                  <c:v>0</c:v>
                </c:pt>
                <c:pt idx="6" c:formatCode="0.00%">
                  <c:v>0</c:v>
                </c:pt>
                <c:pt idx="7" c:formatCode="0.00%">
                  <c:v>0.1</c:v>
                </c:pt>
                <c:pt idx="8" c:formatCode="0.00%">
                  <c:v>0.0909090909090909</c:v>
                </c:pt>
                <c:pt idx="9" c:formatCode="0.00%">
                  <c:v>0.75</c:v>
                </c:pt>
                <c:pt idx="10" c:formatCode="0.00%">
                  <c:v>0.0952380952380952</c:v>
                </c:pt>
                <c:pt idx="11" c:formatCode="0.00%">
                  <c:v>0</c:v>
                </c:pt>
                <c:pt idx="12" c:formatCode="0.00%">
                  <c:v>0.0434782608695652</c:v>
                </c:pt>
                <c:pt idx="13" c:formatCode="0.00%">
                  <c:v>0</c:v>
                </c:pt>
                <c:pt idx="14" c:formatCode="0.00%">
                  <c:v>0.0833333333333333</c:v>
                </c:pt>
                <c:pt idx="15" c:formatCode="0.00%">
                  <c:v>0</c:v>
                </c:pt>
                <c:pt idx="16" c:formatCode="0.00%">
                  <c:v>0</c:v>
                </c:pt>
                <c:pt idx="17" c:formatCode="0.00%">
                  <c:v>0.0769230769230769</c:v>
                </c:pt>
                <c:pt idx="18" c:formatCode="0.00%">
                  <c:v>0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.0357142857142857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</c:v>
                </c:pt>
                <c:pt idx="48" c:formatCode="0.00%">
                  <c:v>0</c:v>
                </c:pt>
                <c:pt idx="49" c:formatCode="0.00%">
                  <c:v>0</c:v>
                </c:pt>
                <c:pt idx="50" c:formatCode="0.0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H$2:$H$52</c:f>
              <c:numCache>
                <c:formatCode>0%</c:formatCode>
                <c:ptCount val="51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-0.0123456790123456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0</c:v>
                </c:pt>
                <c:pt idx="8" c:formatCode="0.00%">
                  <c:v>-0.00826446280991751</c:v>
                </c:pt>
                <c:pt idx="9" c:formatCode="0.00%">
                  <c:v>7.9375</c:v>
                </c:pt>
                <c:pt idx="10" c:formatCode="0.00%">
                  <c:v>-0.785103785103785</c:v>
                </c:pt>
                <c:pt idx="11" c:formatCode="0.00%">
                  <c:v>-1</c:v>
                </c:pt>
                <c:pt idx="12" c:formatCode="0.00%">
                  <c:v>0</c:v>
                </c:pt>
                <c:pt idx="13" c:formatCode="0.00%">
                  <c:v>-1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0</c:v>
                </c:pt>
                <c:pt idx="18" c:formatCode="0.00%">
                  <c:v>-1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</c:v>
                </c:pt>
                <c:pt idx="48" c:formatCode="0.00%">
                  <c:v>0</c:v>
                </c:pt>
                <c:pt idx="49" c:formatCode="0.00%">
                  <c:v>0</c:v>
                </c:pt>
                <c:pt idx="50" c:formatCode="0.0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926976"/>
        <c:axId val="206904320"/>
      </c:lineChart>
      <c:catAx>
        <c:axId val="2068819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 </a:t>
                </a: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1632"/>
        <c:crosses val="autoZero"/>
        <c:auto val="1"/>
        <c:lblAlgn val="ctr"/>
        <c:lblOffset val="100"/>
        <c:noMultiLvlLbl val="0"/>
      </c:catAx>
      <c:valAx>
        <c:axId val="2069016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81920"/>
        <c:crosses val="autoZero"/>
        <c:crossBetween val="between"/>
      </c:valAx>
      <c:catAx>
        <c:axId val="206926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4320"/>
        <c:crosses val="autoZero"/>
        <c:auto val="1"/>
        <c:lblAlgn val="ctr"/>
        <c:lblOffset val="100"/>
        <c:noMultiLvlLbl val="0"/>
      </c:catAx>
      <c:valAx>
        <c:axId val="206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269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Selected Times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15815104159403"/>
          <c:y val="0.115678480742669"/>
          <c:w val="0.77742429651612"/>
          <c:h val="0.60018429761497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C$2:$C$52</c:f>
              <c:numCache>
                <c:formatCode>General</c:formatCode>
                <c:ptCount val="51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D$2:$D$52</c:f>
              <c:numCache>
                <c:formatCode>General</c:formatCode>
                <c:ptCount val="51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E$2:$E$52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F$2:$F$52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4927232"/>
        <c:axId val="21494732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Average Week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G$2:$G$52</c:f>
              <c:numCache>
                <c:formatCode>0</c:formatCode>
                <c:ptCount val="51"/>
                <c:pt idx="0">
                  <c:v>3</c:v>
                </c:pt>
                <c:pt idx="1">
                  <c:v>4</c:v>
                </c:pt>
                <c:pt idx="2">
                  <c:v>2.66666666666667</c:v>
                </c:pt>
                <c:pt idx="3">
                  <c:v>2.25</c:v>
                </c:pt>
                <c:pt idx="4">
                  <c:v>2</c:v>
                </c:pt>
                <c:pt idx="5">
                  <c:v>1.66666666666667</c:v>
                </c:pt>
                <c:pt idx="6">
                  <c:v>1.42857142857143</c:v>
                </c:pt>
                <c:pt idx="7">
                  <c:v>1.375</c:v>
                </c:pt>
                <c:pt idx="8">
                  <c:v>1.33333333333333</c:v>
                </c:pt>
                <c:pt idx="9">
                  <c:v>2.1</c:v>
                </c:pt>
                <c:pt idx="10">
                  <c:v>2.09090909090909</c:v>
                </c:pt>
                <c:pt idx="11">
                  <c:v>1.91666666666667</c:v>
                </c:pt>
                <c:pt idx="12">
                  <c:v>1.84615384615385</c:v>
                </c:pt>
                <c:pt idx="13">
                  <c:v>1.71428571428571</c:v>
                </c:pt>
                <c:pt idx="14">
                  <c:v>1.73333333333333</c:v>
                </c:pt>
                <c:pt idx="15">
                  <c:v>1.625</c:v>
                </c:pt>
                <c:pt idx="16">
                  <c:v>1.52941176470588</c:v>
                </c:pt>
                <c:pt idx="17">
                  <c:v>1.55555555555556</c:v>
                </c:pt>
                <c:pt idx="18">
                  <c:v>1.47368421052632</c:v>
                </c:pt>
                <c:pt idx="19">
                  <c:v>1.4</c:v>
                </c:pt>
                <c:pt idx="20">
                  <c:v>1.33333333333333</c:v>
                </c:pt>
                <c:pt idx="21">
                  <c:v>1.27272727272727</c:v>
                </c:pt>
                <c:pt idx="22">
                  <c:v>1.21739130434783</c:v>
                </c:pt>
                <c:pt idx="23">
                  <c:v>1.16666666666667</c:v>
                </c:pt>
                <c:pt idx="24">
                  <c:v>1.12</c:v>
                </c:pt>
                <c:pt idx="25">
                  <c:v>1.07692307692308</c:v>
                </c:pt>
                <c:pt idx="26">
                  <c:v>1.07407407407407</c:v>
                </c:pt>
                <c:pt idx="27">
                  <c:v>1.03571428571429</c:v>
                </c:pt>
                <c:pt idx="28">
                  <c:v>1</c:v>
                </c:pt>
                <c:pt idx="29">
                  <c:v>0.966666666666667</c:v>
                </c:pt>
                <c:pt idx="30">
                  <c:v>0.935483870967742</c:v>
                </c:pt>
                <c:pt idx="31">
                  <c:v>0.90625</c:v>
                </c:pt>
                <c:pt idx="32">
                  <c:v>0.878787878787879</c:v>
                </c:pt>
                <c:pt idx="33">
                  <c:v>0.852941176470588</c:v>
                </c:pt>
                <c:pt idx="34">
                  <c:v>0.828571428571429</c:v>
                </c:pt>
                <c:pt idx="35">
                  <c:v>0.805555555555556</c:v>
                </c:pt>
                <c:pt idx="36">
                  <c:v>0.783783783783784</c:v>
                </c:pt>
                <c:pt idx="37">
                  <c:v>0.763157894736842</c:v>
                </c:pt>
                <c:pt idx="38">
                  <c:v>0.743589743589744</c:v>
                </c:pt>
                <c:pt idx="39">
                  <c:v>0.725</c:v>
                </c:pt>
                <c:pt idx="40">
                  <c:v>0.707317073170732</c:v>
                </c:pt>
                <c:pt idx="41">
                  <c:v>0.69047619047619</c:v>
                </c:pt>
                <c:pt idx="42">
                  <c:v>0.674418604651163</c:v>
                </c:pt>
                <c:pt idx="43">
                  <c:v>0.659090909090909</c:v>
                </c:pt>
                <c:pt idx="44">
                  <c:v>0.644444444444444</c:v>
                </c:pt>
                <c:pt idx="45">
                  <c:v>0.630434782608696</c:v>
                </c:pt>
                <c:pt idx="46">
                  <c:v>0.617021276595745</c:v>
                </c:pt>
                <c:pt idx="47">
                  <c:v>0.604166666666667</c:v>
                </c:pt>
                <c:pt idx="48">
                  <c:v>0.591836734693878</c:v>
                </c:pt>
                <c:pt idx="49">
                  <c:v>0.58</c:v>
                </c:pt>
                <c:pt idx="50">
                  <c:v>0.56862745098039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5616128"/>
        <c:axId val="214991232"/>
      </c:lineChart>
      <c:dateAx>
        <c:axId val="21492723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47328"/>
        <c:crosses val="autoZero"/>
        <c:auto val="0"/>
        <c:lblAlgn val="ctr"/>
        <c:lblOffset val="100"/>
        <c:baseTimeUnit val="days"/>
      </c:dateAx>
      <c:valAx>
        <c:axId val="214947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27232"/>
        <c:crosses val="autoZero"/>
        <c:crossBetween val="between"/>
      </c:valAx>
      <c:catAx>
        <c:axId val="2156161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91232"/>
        <c:crosses val="autoZero"/>
        <c:auto val="1"/>
        <c:lblAlgn val="ctr"/>
        <c:lblOffset val="100"/>
        <c:noMultiLvlLbl val="0"/>
      </c:catAx>
      <c:valAx>
        <c:axId val="2149912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561612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545185236062781"/>
          <c:y val="0.847384307224755"/>
          <c:w val="0.909733861509139"/>
          <c:h val="0.1350718331261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effectLst/>
                <a:latin typeface="+mn-lt"/>
              </a:rPr>
              <a:t>Average Daily Selected Times</a:t>
            </a:r>
            <a:endParaRPr lang="en-US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46760043506126"/>
          <c:y val="0.126498595570291"/>
          <c:w val="0.769824775424199"/>
          <c:h val="0.56981581249712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G$1</c:f>
              <c:strCache>
                <c:ptCount val="1"/>
                <c:pt idx="0">
                  <c:v>Average Daily Food 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G$2:$G$52</c:f>
              <c:numCache>
                <c:formatCode>0.00</c:formatCode>
                <c:ptCount val="51"/>
                <c:pt idx="0">
                  <c:v>1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142857142857143</c:v>
                </c:pt>
                <c:pt idx="9">
                  <c:v>0.714285714285714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H$1</c:f>
              <c:strCache>
                <c:ptCount val="1"/>
                <c:pt idx="0">
                  <c:v>Average Daily Shopping</c:v>
                </c:pt>
              </c:strCache>
            </c:strRef>
          </c:tx>
          <c:spPr>
            <a:solidFill>
              <a:srgbClr val="4C4C4C"/>
            </a:solidFill>
            <a:ln>
              <a:solidFill>
                <a:srgbClr val="4C4C4C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H$2:$H$52</c:f>
              <c:numCache>
                <c:formatCode>0.00</c:formatCode>
                <c:ptCount val="51"/>
                <c:pt idx="0">
                  <c:v>0</c:v>
                </c:pt>
                <c:pt idx="1">
                  <c:v>0.428571428571429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</c:v>
                </c:pt>
                <c:pt idx="9">
                  <c:v>0.142857142857143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I$1</c:f>
              <c:strCache>
                <c:ptCount val="1"/>
                <c:pt idx="0">
                  <c:v>Average Daily Fun 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I$2:$I$52</c:f>
              <c:numCache>
                <c:formatCode>0.00</c:formatCode>
                <c:ptCount val="51"/>
                <c:pt idx="0">
                  <c:v>0.5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428571428571429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J$1</c:f>
              <c:strCache>
                <c:ptCount val="1"/>
                <c:pt idx="0">
                  <c:v>Average Daily 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J$2:$J$52</c:f>
              <c:numCache>
                <c:formatCode>0.00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K$1</c:f>
              <c:strCache>
                <c:ptCount val="1"/>
                <c:pt idx="0">
                  <c:v>Average Daily 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K$2:$K$52</c:f>
              <c:numCache>
                <c:formatCode>0.00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216661376"/>
        <c:axId val="216729472"/>
      </c:barChart>
      <c:lineChart>
        <c:grouping val="standard"/>
        <c:varyColors val="0"/>
        <c:ser>
          <c:idx val="5"/>
          <c:order val="5"/>
          <c:tx>
            <c:strRef>
              <c:f>Sheet1!$L$1</c:f>
              <c:strCache>
                <c:ptCount val="1"/>
                <c:pt idx="0">
                  <c:v>Average Dai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2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11"/>
              <c:delete val="1"/>
            </c:dLbl>
            <c:dLbl>
              <c:idx val="13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0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4"/>
              <c:delete val="1"/>
            </c:dLbl>
            <c:dLbl>
              <c:idx val="25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29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dLbl>
              <c:idx val="32"/>
              <c:delete val="1"/>
            </c:dLbl>
            <c:dLbl>
              <c:idx val="33"/>
              <c:delete val="1"/>
            </c:dLbl>
            <c:dLbl>
              <c:idx val="34"/>
              <c:delete val="1"/>
            </c:dLbl>
            <c:dLbl>
              <c:idx val="35"/>
              <c:delete val="1"/>
            </c:dLbl>
            <c:dLbl>
              <c:idx val="36"/>
              <c:delete val="1"/>
            </c:dLbl>
            <c:dLbl>
              <c:idx val="37"/>
              <c:delete val="1"/>
            </c:dLbl>
            <c:dLbl>
              <c:idx val="3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L$2:$L$52</c:f>
              <c:numCache>
                <c:formatCode>0.00</c:formatCode>
                <c:ptCount val="51"/>
                <c:pt idx="0">
                  <c:v>1.5</c:v>
                </c:pt>
                <c:pt idx="1">
                  <c:v>0.714285714285714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.142857142857143</c:v>
                </c:pt>
                <c:pt idx="9">
                  <c:v>1.28571428571429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285714285714286</c:v>
                </c:pt>
                <c:pt idx="15">
                  <c:v>0</c:v>
                </c:pt>
                <c:pt idx="16">
                  <c:v>0</c:v>
                </c:pt>
                <c:pt idx="17">
                  <c:v>0.285714285714286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6898560"/>
        <c:axId val="216897024"/>
      </c:lineChart>
      <c:dateAx>
        <c:axId val="21666137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330" b="0" i="0" u="none" strike="noStrike" baseline="0" dirty="0">
                    <a:effectLst/>
                  </a:rPr>
                  <a:t>2019-2020 </a:t>
                </a:r>
                <a:r>
                  <a:rPr lang="en-US" sz="1200" dirty="0"/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729472"/>
        <c:crosses val="autoZero"/>
        <c:auto val="0"/>
        <c:lblAlgn val="ctr"/>
        <c:lblOffset val="100"/>
        <c:baseTimeUnit val="days"/>
      </c:dateAx>
      <c:valAx>
        <c:axId val="216729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mount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661376"/>
        <c:crosses val="autoZero"/>
        <c:crossBetween val="between"/>
      </c:valAx>
      <c:catAx>
        <c:axId val="2168985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7024"/>
        <c:crosses val="autoZero"/>
        <c:auto val="1"/>
        <c:lblAlgn val="ctr"/>
        <c:lblOffset val="100"/>
        <c:noMultiLvlLbl val="0"/>
      </c:catAx>
      <c:valAx>
        <c:axId val="216897024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856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415104802041"/>
          <c:y val="0.806448634710135"/>
          <c:w val="0.764031789255902"/>
          <c:h val="0.1935513652898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sz="186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Monthly User Preferred Charging Destination</a:t>
            </a:r>
            <a:r>
              <a:rPr lang="en-US" altLang="zh-CN" sz="1800" b="0" i="0" baseline="0" dirty="0">
                <a:solidFill>
                  <a:srgbClr val="FF0000"/>
                </a:solidFill>
                <a:effectLst/>
              </a:rPr>
              <a:t> </a:t>
            </a:r>
            <a:endParaRPr lang="zh-CN" altLang="zh-CN" sz="1800" b="0" i="0" u="none" strike="noStrike" kern="1200" spc="0" baseline="0" dirty="0">
              <a:solidFill>
                <a:srgbClr val="FF0000"/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1665810292232"/>
          <c:y val="0.167681444710715"/>
          <c:w val="0.824451758345022"/>
          <c:h val="0.466888337327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3</c:v>
                </c:pt>
                <c:pt idx="1">
                  <c:v>0</c:v>
                </c:pt>
                <c:pt idx="2">
                  <c:v>7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2</c:v>
                </c:pt>
                <c:pt idx="1">
                  <c:v>0</c:v>
                </c:pt>
                <c:pt idx="2">
                  <c:v>3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F$2:$F$1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1302528"/>
        <c:axId val="26137548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 cmpd="sng" algn="ctr">
              <a:solidFill>
                <a:srgbClr val="E2BCBF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prstDash val="solid"/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G$2:$G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0.375</c:v>
                </c:pt>
                <c:pt idx="2" c:formatCode="0%">
                  <c:v>1.09090909090909</c:v>
                </c:pt>
                <c:pt idx="3" c:formatCode="0%">
                  <c:v>0.130434782608696</c:v>
                </c:pt>
                <c:pt idx="4" c:formatCode="0%">
                  <c:v>0.0769230769230769</c:v>
                </c:pt>
                <c:pt idx="5" c:formatCode="0%">
                  <c:v>0</c:v>
                </c:pt>
                <c:pt idx="6" c:formatCode="0%">
                  <c:v>0.0357142857142857</c:v>
                </c:pt>
                <c:pt idx="7" c:formatCode="0%">
                  <c:v>0</c:v>
                </c:pt>
                <c:pt idx="8" c:formatCode="0%">
                  <c:v>0</c:v>
                </c:pt>
                <c:pt idx="9" c:formatCode="0%">
                  <c:v>0</c:v>
                </c:pt>
                <c:pt idx="10" c:formatCode="0%">
                  <c:v>0</c:v>
                </c:pt>
                <c:pt idx="11" c:formatCode="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 cmpd="sng" algn="ctr">
              <a:solidFill>
                <a:srgbClr val="898989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prstDash val="solid"/>
                <a:round/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H$2:$H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-0.625</c:v>
                </c:pt>
                <c:pt idx="2" c:formatCode="0%">
                  <c:v>3</c:v>
                </c:pt>
                <c:pt idx="3" c:formatCode="0%">
                  <c:v>-0.75</c:v>
                </c:pt>
                <c:pt idx="4" c:formatCode="0%">
                  <c:v>-0.333333333333333</c:v>
                </c:pt>
                <c:pt idx="5" c:formatCode="0%">
                  <c:v>-1</c:v>
                </c:pt>
                <c:pt idx="6" c:formatCode="0%">
                  <c:v>0</c:v>
                </c:pt>
                <c:pt idx="7" c:formatCode="0%">
                  <c:v>-1</c:v>
                </c:pt>
                <c:pt idx="8" c:formatCode="0%">
                  <c:v>0</c:v>
                </c:pt>
                <c:pt idx="9" c:formatCode="0%">
                  <c:v>0</c:v>
                </c:pt>
                <c:pt idx="10" c:formatCode="0%">
                  <c:v>0</c:v>
                </c:pt>
                <c:pt idx="11" c:formatCode="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77504"/>
        <c:axId val="261377408"/>
      </c:lineChart>
      <c:catAx>
        <c:axId val="2613025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.408925662016277"/>
              <c:y val="0.798416048868161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75488"/>
        <c:crosses val="autoZero"/>
        <c:auto val="1"/>
        <c:lblAlgn val="ctr"/>
        <c:lblOffset val="100"/>
        <c:noMultiLvlLbl val="0"/>
      </c:catAx>
      <c:valAx>
        <c:axId val="261375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02528"/>
        <c:crosses val="autoZero"/>
        <c:crossBetween val="between"/>
      </c:valAx>
      <c:catAx>
        <c:axId val="261477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261377408"/>
        <c:crosses val="autoZero"/>
        <c:auto val="1"/>
        <c:lblAlgn val="ctr"/>
        <c:lblOffset val="100"/>
        <c:noMultiLvlLbl val="0"/>
      </c:catAx>
      <c:valAx>
        <c:axId val="26137740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77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5434951236877"/>
          <c:y val="0.844069798254298"/>
          <c:w val="0.784165868155369"/>
          <c:h val="0.1559303320780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4C4C4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17200207847325"/>
          <c:y val="0.154546665122742"/>
          <c:w val="0.864729043994693"/>
          <c:h val="0.6801208121043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3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1961216"/>
        <c:axId val="262001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-0.014705882352941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8C8C8C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0391099519327399"/>
                      <c:h val="0.0346201945345067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C$2:$C$52</c:f>
              <c:numCache>
                <c:formatCode>0%</c:formatCode>
                <c:ptCount val="51"/>
                <c:pt idx="0">
                  <c:v>#N/A</c:v>
                </c:pt>
                <c:pt idx="1">
                  <c:v>#N/A</c:v>
                </c:pt>
                <c:pt idx="2" c:formatCode="0.00%">
                  <c:v>0.6</c:v>
                </c:pt>
                <c:pt idx="3" c:formatCode="0.00%">
                  <c:v>0.25</c:v>
                </c:pt>
                <c:pt idx="4" c:formatCode="0.00%">
                  <c:v>0.6</c:v>
                </c:pt>
                <c:pt idx="5" c:formatCode="0.00%">
                  <c:v>0</c:v>
                </c:pt>
                <c:pt idx="6" c:formatCode="0.00%">
                  <c:v>0.25</c:v>
                </c:pt>
                <c:pt idx="7" c:formatCode="0.00%">
                  <c:v>0.1</c:v>
                </c:pt>
                <c:pt idx="8" c:formatCode="0.00%">
                  <c:v>0.0454545454545455</c:v>
                </c:pt>
                <c:pt idx="9" c:formatCode="0.00%">
                  <c:v>0.478260869565217</c:v>
                </c:pt>
                <c:pt idx="10" c:formatCode="0.00%">
                  <c:v>0.147058823529412</c:v>
                </c:pt>
                <c:pt idx="11" c:formatCode="0.00%">
                  <c:v>0.0512820512820513</c:v>
                </c:pt>
                <c:pt idx="12" c:formatCode="0.00%">
                  <c:v>0.0487804878048781</c:v>
                </c:pt>
                <c:pt idx="13" c:formatCode="0.00%">
                  <c:v>0.0232558139534884</c:v>
                </c:pt>
                <c:pt idx="14" c:formatCode="0.00%">
                  <c:v>0.0227272727272727</c:v>
                </c:pt>
                <c:pt idx="15" c:formatCode="0.00%">
                  <c:v>0</c:v>
                </c:pt>
                <c:pt idx="16" c:formatCode="0.00%">
                  <c:v>0.0222222222222222</c:v>
                </c:pt>
                <c:pt idx="17" c:formatCode="0.00%">
                  <c:v>0</c:v>
                </c:pt>
                <c:pt idx="18" c:formatCode="0.00%">
                  <c:v>0.0217391304347826</c:v>
                </c:pt>
                <c:pt idx="19" c:formatCode="0.00%">
                  <c:v>0.0425531914893617</c:v>
                </c:pt>
                <c:pt idx="20" c:formatCode="0.00%">
                  <c:v>0.0204081632653061</c:v>
                </c:pt>
                <c:pt idx="21" c:formatCode="0.00%">
                  <c:v>0.02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.0392156862745098</c:v>
                </c:pt>
                <c:pt idx="25" c:formatCode="0.00%">
                  <c:v>0.0377358490566038</c:v>
                </c:pt>
                <c:pt idx="26" c:formatCode="0.00%">
                  <c:v>0</c:v>
                </c:pt>
                <c:pt idx="27" c:formatCode="0.00%">
                  <c:v>0</c:v>
                </c:pt>
                <c:pt idx="28" c:formatCode="0.00%">
                  <c:v>0.0545454545454545</c:v>
                </c:pt>
                <c:pt idx="29" c:formatCode="0.00%">
                  <c:v>0.0517241379310345</c:v>
                </c:pt>
                <c:pt idx="30" c:formatCode="0.00%">
                  <c:v>0.0163934426229508</c:v>
                </c:pt>
                <c:pt idx="31" c:formatCode="0.00%">
                  <c:v>0.0161290322580645</c:v>
                </c:pt>
                <c:pt idx="32" c:formatCode="0.00%">
                  <c:v>0.0158730158730159</c:v>
                </c:pt>
                <c:pt idx="33" c:formatCode="0.00%">
                  <c:v>0.015625</c:v>
                </c:pt>
                <c:pt idx="34" c:formatCode="0.00%">
                  <c:v>0.0307692307692308</c:v>
                </c:pt>
                <c:pt idx="35" c:formatCode="0.00%">
                  <c:v>0</c:v>
                </c:pt>
                <c:pt idx="36" c:formatCode="0.00%">
                  <c:v>0.0149253731343284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7058823529412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.0289855072463768</c:v>
                </c:pt>
                <c:pt idx="47" c:formatCode="0.00%">
                  <c:v>0.0422535211267606</c:v>
                </c:pt>
                <c:pt idx="48" c:formatCode="0.00%">
                  <c:v>0</c:v>
                </c:pt>
                <c:pt idx="49" c:formatCode="0.00%">
                  <c:v>0</c:v>
                </c:pt>
                <c:pt idx="50" c:formatCode="0.00%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0.041666666666666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>
                <c:manualLayout>
                  <c:x val="-0.0495392724481371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469319423192878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D$2:$D$52</c:f>
              <c:numCache>
                <c:formatCode>0%</c:formatCode>
                <c:ptCount val="51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</c:v>
                </c:pt>
                <c:pt idx="3" c:formatCode="0.00%">
                  <c:v>-0.333333333333333</c:v>
                </c:pt>
                <c:pt idx="4" c:formatCode="0.00%">
                  <c:v>2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-0.5</c:v>
                </c:pt>
                <c:pt idx="8" c:formatCode="0.00%">
                  <c:v>-0.5</c:v>
                </c:pt>
                <c:pt idx="9" c:formatCode="0.00%">
                  <c:v>10</c:v>
                </c:pt>
                <c:pt idx="10" c:formatCode="0.00%">
                  <c:v>-0.545454545454545</c:v>
                </c:pt>
                <c:pt idx="11" c:formatCode="0.00%">
                  <c:v>-0.6</c:v>
                </c:pt>
                <c:pt idx="12" c:formatCode="0.00%">
                  <c:v>0</c:v>
                </c:pt>
                <c:pt idx="13" c:formatCode="0.00%">
                  <c:v>-0.5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-1</c:v>
                </c:pt>
                <c:pt idx="18" c:formatCode="0.00%">
                  <c:v>0</c:v>
                </c:pt>
                <c:pt idx="19" c:formatCode="0.00%">
                  <c:v>1</c:v>
                </c:pt>
                <c:pt idx="20" c:formatCode="0.00%">
                  <c:v>-0.5</c:v>
                </c:pt>
                <c:pt idx="21" c:formatCode="0.00%">
                  <c:v>0</c:v>
                </c:pt>
                <c:pt idx="22" c:formatCode="0.00%">
                  <c:v>-1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-1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-0.666666666666667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1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.5</c:v>
                </c:pt>
                <c:pt idx="48" c:formatCode="0.00%">
                  <c:v>-1</c:v>
                </c:pt>
                <c:pt idx="49" c:formatCode="0.00%">
                  <c:v>0</c:v>
                </c:pt>
                <c:pt idx="50" c:formatCode="0.00%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2140672"/>
        <c:axId val="262003712"/>
      </c:lineChart>
      <c:catAx>
        <c:axId val="2619612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1792"/>
        <c:crosses val="autoZero"/>
        <c:auto val="1"/>
        <c:lblAlgn val="ctr"/>
        <c:lblOffset val="100"/>
        <c:noMultiLvlLbl val="0"/>
      </c:catAx>
      <c:valAx>
        <c:axId val="26200179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961216"/>
        <c:crosses val="autoZero"/>
        <c:crossBetween val="between"/>
      </c:valAx>
      <c:catAx>
        <c:axId val="2621406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3712"/>
        <c:crosses val="autoZero"/>
        <c:auto val="1"/>
        <c:lblAlgn val="ctr"/>
        <c:lblOffset val="100"/>
        <c:noMultiLvlLbl val="0"/>
      </c:catAx>
      <c:valAx>
        <c:axId val="26200371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1406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ecommended Times </a:t>
            </a:r>
            <a:endParaRPr lang="en-US" sz="14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 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3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62864256"/>
        <c:axId val="2628951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C$2:$C$52</c:f>
              <c:numCache>
                <c:formatCode>0</c:formatCode>
                <c:ptCount val="51"/>
                <c:pt idx="0">
                  <c:v>0</c:v>
                </c:pt>
                <c:pt idx="1">
                  <c:v>2.5</c:v>
                </c:pt>
                <c:pt idx="2">
                  <c:v>2.66666666666667</c:v>
                </c:pt>
                <c:pt idx="3">
                  <c:v>2.5</c:v>
                </c:pt>
                <c:pt idx="4">
                  <c:v>3.2</c:v>
                </c:pt>
                <c:pt idx="5">
                  <c:v>2.66666666666667</c:v>
                </c:pt>
                <c:pt idx="6">
                  <c:v>2.85714285714286</c:v>
                </c:pt>
                <c:pt idx="7">
                  <c:v>2.75</c:v>
                </c:pt>
                <c:pt idx="8">
                  <c:v>2.55555555555556</c:v>
                </c:pt>
                <c:pt idx="9">
                  <c:v>3.4</c:v>
                </c:pt>
                <c:pt idx="10">
                  <c:v>3.54545454545455</c:v>
                </c:pt>
                <c:pt idx="11">
                  <c:v>3.41666666666667</c:v>
                </c:pt>
                <c:pt idx="12">
                  <c:v>3.30769230769231</c:v>
                </c:pt>
                <c:pt idx="13">
                  <c:v>3.14285714285714</c:v>
                </c:pt>
                <c:pt idx="14">
                  <c:v>3</c:v>
                </c:pt>
                <c:pt idx="15">
                  <c:v>2.8125</c:v>
                </c:pt>
                <c:pt idx="16">
                  <c:v>2.70588235294118</c:v>
                </c:pt>
                <c:pt idx="17">
                  <c:v>2.55555555555556</c:v>
                </c:pt>
                <c:pt idx="18">
                  <c:v>2.47368421052632</c:v>
                </c:pt>
                <c:pt idx="19">
                  <c:v>2.45</c:v>
                </c:pt>
                <c:pt idx="20">
                  <c:v>2.38095238095238</c:v>
                </c:pt>
                <c:pt idx="21">
                  <c:v>2.31818181818182</c:v>
                </c:pt>
                <c:pt idx="22">
                  <c:v>2.21739130434783</c:v>
                </c:pt>
                <c:pt idx="23">
                  <c:v>2.125</c:v>
                </c:pt>
                <c:pt idx="24">
                  <c:v>2.12</c:v>
                </c:pt>
                <c:pt idx="25">
                  <c:v>2.11538461538462</c:v>
                </c:pt>
                <c:pt idx="26">
                  <c:v>2.03703703703704</c:v>
                </c:pt>
                <c:pt idx="27">
                  <c:v>1.96428571428571</c:v>
                </c:pt>
                <c:pt idx="28">
                  <c:v>2</c:v>
                </c:pt>
                <c:pt idx="29">
                  <c:v>2.03333333333333</c:v>
                </c:pt>
                <c:pt idx="30">
                  <c:v>2</c:v>
                </c:pt>
                <c:pt idx="31">
                  <c:v>1.96875</c:v>
                </c:pt>
                <c:pt idx="32">
                  <c:v>1.93939393939394</c:v>
                </c:pt>
                <c:pt idx="33">
                  <c:v>1.91176470588235</c:v>
                </c:pt>
                <c:pt idx="34">
                  <c:v>1.91428571428571</c:v>
                </c:pt>
                <c:pt idx="35">
                  <c:v>1.86111111111111</c:v>
                </c:pt>
                <c:pt idx="36">
                  <c:v>1.83783783783784</c:v>
                </c:pt>
                <c:pt idx="37">
                  <c:v>1.78947368421053</c:v>
                </c:pt>
                <c:pt idx="38">
                  <c:v>1.74358974358974</c:v>
                </c:pt>
                <c:pt idx="39">
                  <c:v>1.7</c:v>
                </c:pt>
                <c:pt idx="40">
                  <c:v>1.65853658536585</c:v>
                </c:pt>
                <c:pt idx="41">
                  <c:v>1.64285714285714</c:v>
                </c:pt>
                <c:pt idx="42">
                  <c:v>1.6046511627907</c:v>
                </c:pt>
                <c:pt idx="43">
                  <c:v>1.56818181818182</c:v>
                </c:pt>
                <c:pt idx="44">
                  <c:v>1.53333333333333</c:v>
                </c:pt>
                <c:pt idx="45">
                  <c:v>1.5</c:v>
                </c:pt>
                <c:pt idx="46">
                  <c:v>1.51063829787234</c:v>
                </c:pt>
                <c:pt idx="47">
                  <c:v>1.54166666666667</c:v>
                </c:pt>
                <c:pt idx="48">
                  <c:v>1.51020408163265</c:v>
                </c:pt>
                <c:pt idx="49">
                  <c:v>1.48</c:v>
                </c:pt>
                <c:pt idx="50">
                  <c:v>1.4509803921568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864256"/>
        <c:axId val="262895104"/>
      </c:lineChart>
      <c:dateAx>
        <c:axId val="2628642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95104"/>
        <c:crosses val="autoZero"/>
        <c:auto val="0"/>
        <c:lblAlgn val="ctr"/>
        <c:lblOffset val="100"/>
        <c:baseTimeUnit val="days"/>
      </c:dateAx>
      <c:valAx>
        <c:axId val="262895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64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400" b="0" i="0" baseline="0" dirty="0">
                <a:effectLst/>
                <a:latin typeface="+mn-lt"/>
              </a:rPr>
              <a:t>Average Daily </a:t>
            </a:r>
            <a:r>
              <a:rPr lang="en-US" sz="1400" b="0" i="0" u="none" strike="noStrike" baseline="0" dirty="0">
                <a:effectLst/>
                <a:latin typeface="+mn-lt"/>
              </a:rPr>
              <a:t>Recommended Times </a:t>
            </a:r>
            <a:endParaRPr lang="zh-CN" altLang="zh-CN" sz="14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3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2974464"/>
        <c:axId val="2629889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5"/>
              <c:delete val="1"/>
            </c:dLbl>
            <c:dLbl>
              <c:idx val="8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30862445011275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8"/>
              <c:layout>
                <c:manualLayout>
                  <c:x val="-0.0289085431222506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9"/>
              <c:layout>
                <c:manualLayout>
                  <c:x val="-0.0336033788030017"/>
                  <c:y val="-0.061684639963482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>
                <c:manualLayout>
                  <c:x val="-0.0359507966433773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1"/>
              <c:layout>
                <c:manualLayout>
                  <c:x val="-0.0453404680048797"/>
                  <c:y val="-0.021829567499714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-0.00140845070422535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C$2:$C$52</c:f>
              <c:numCache>
                <c:formatCode>0.00</c:formatCode>
                <c:ptCount val="51"/>
                <c:pt idx="0">
                  <c:v>3</c:v>
                </c:pt>
                <c:pt idx="1">
                  <c:v>0.714285714285714</c:v>
                </c:pt>
                <c:pt idx="2">
                  <c:v>0.428571428571429</c:v>
                </c:pt>
                <c:pt idx="3">
                  <c:v>0.285714285714286</c:v>
                </c:pt>
                <c:pt idx="4">
                  <c:v>0.857142857142857</c:v>
                </c:pt>
                <c:pt idx="5">
                  <c:v>0</c:v>
                </c:pt>
                <c:pt idx="6">
                  <c:v>0.571428571428571</c:v>
                </c:pt>
                <c:pt idx="7">
                  <c:v>0.285714285714286</c:v>
                </c:pt>
                <c:pt idx="8">
                  <c:v>0.142857142857143</c:v>
                </c:pt>
                <c:pt idx="9">
                  <c:v>1.57142857142857</c:v>
                </c:pt>
                <c:pt idx="10">
                  <c:v>0.714285714285714</c:v>
                </c:pt>
                <c:pt idx="11">
                  <c:v>0.285714285714286</c:v>
                </c:pt>
                <c:pt idx="12">
                  <c:v>0.285714285714286</c:v>
                </c:pt>
                <c:pt idx="13">
                  <c:v>0.142857142857143</c:v>
                </c:pt>
                <c:pt idx="14">
                  <c:v>0.142857142857143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.142857142857143</c:v>
                </c:pt>
                <c:pt idx="19">
                  <c:v>0.285714285714286</c:v>
                </c:pt>
                <c:pt idx="20">
                  <c:v>0.142857142857143</c:v>
                </c:pt>
                <c:pt idx="21">
                  <c:v>0.142857142857143</c:v>
                </c:pt>
                <c:pt idx="22">
                  <c:v>0</c:v>
                </c:pt>
                <c:pt idx="23">
                  <c:v>0</c:v>
                </c:pt>
                <c:pt idx="24">
                  <c:v>0.285714285714286</c:v>
                </c:pt>
                <c:pt idx="25">
                  <c:v>0.285714285714286</c:v>
                </c:pt>
                <c:pt idx="26">
                  <c:v>0</c:v>
                </c:pt>
                <c:pt idx="27">
                  <c:v>0</c:v>
                </c:pt>
                <c:pt idx="28">
                  <c:v>0.428571428571429</c:v>
                </c:pt>
                <c:pt idx="29">
                  <c:v>0.428571428571429</c:v>
                </c:pt>
                <c:pt idx="30">
                  <c:v>0.142857142857143</c:v>
                </c:pt>
                <c:pt idx="31">
                  <c:v>0.142857142857143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285714285714286</c:v>
                </c:pt>
                <c:pt idx="35">
                  <c:v>0</c:v>
                </c:pt>
                <c:pt idx="36">
                  <c:v>0.142857142857143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.285714285714286</c:v>
                </c:pt>
                <c:pt idx="47">
                  <c:v>0.428571428571429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974464"/>
        <c:axId val="262988928"/>
      </c:lineChart>
      <c:dateAx>
        <c:axId val="26297446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88928"/>
        <c:crosses val="autoZero"/>
        <c:auto val="0"/>
        <c:lblAlgn val="ctr"/>
        <c:lblOffset val="100"/>
        <c:baseTimeUnit val="days"/>
      </c:dateAx>
      <c:valAx>
        <c:axId val="262988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74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0</c:v>
                </c:pt>
                <c:pt idx="1">
                  <c:v>11</c:v>
                </c:pt>
                <c:pt idx="2">
                  <c:v>20</c:v>
                </c:pt>
                <c:pt idx="3">
                  <c:v>4</c:v>
                </c:pt>
                <c:pt idx="4">
                  <c:v>5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3559040"/>
        <c:axId val="26357760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1.1</c:v>
                </c:pt>
                <c:pt idx="2" c:formatCode="0.00%">
                  <c:v>0.952380952380952</c:v>
                </c:pt>
                <c:pt idx="3" c:formatCode="0.00%">
                  <c:v>0.0975609756097561</c:v>
                </c:pt>
                <c:pt idx="4" c:formatCode="0.00%">
                  <c:v>0.111111111111111</c:v>
                </c:pt>
                <c:pt idx="5" c:formatCode="0.00%">
                  <c:v>0.06</c:v>
                </c:pt>
                <c:pt idx="6" c:formatCode="0.00%">
                  <c:v>0.113207547169811</c:v>
                </c:pt>
                <c:pt idx="7" c:formatCode="0.00%">
                  <c:v>0.101694915254237</c:v>
                </c:pt>
                <c:pt idx="8" c:formatCode="0.00%">
                  <c:v>0.0461538461538462</c:v>
                </c:pt>
                <c:pt idx="9" c:formatCode="0.00%">
                  <c:v>0.0147058823529412</c:v>
                </c:pt>
                <c:pt idx="10" c:formatCode="0.00%">
                  <c:v>0.0144927536231884</c:v>
                </c:pt>
                <c:pt idx="11" c:formatCode="0.00%">
                  <c:v>0.057142857142857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0.1</c:v>
                </c:pt>
                <c:pt idx="2" c:formatCode="0.00%">
                  <c:v>0.818181818181818</c:v>
                </c:pt>
                <c:pt idx="3" c:formatCode="0.00%">
                  <c:v>-0.8</c:v>
                </c:pt>
                <c:pt idx="4" c:formatCode="0.00%">
                  <c:v>0.25</c:v>
                </c:pt>
                <c:pt idx="5" c:formatCode="0.00%">
                  <c:v>-0.4</c:v>
                </c:pt>
                <c:pt idx="6" c:formatCode="0.00%">
                  <c:v>1</c:v>
                </c:pt>
                <c:pt idx="7" c:formatCode="0.00%">
                  <c:v>0</c:v>
                </c:pt>
                <c:pt idx="8" c:formatCode="0.00%">
                  <c:v>-0.5</c:v>
                </c:pt>
                <c:pt idx="9" c:formatCode="0.00%">
                  <c:v>-0.666666666666667</c:v>
                </c:pt>
                <c:pt idx="10" c:formatCode="0.00%">
                  <c:v>0</c:v>
                </c:pt>
                <c:pt idx="11" c:formatCode="0.00%">
                  <c:v>3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3581056"/>
        <c:axId val="263579520"/>
      </c:lineChart>
      <c:catAx>
        <c:axId val="2635590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7600"/>
        <c:crosses val="autoZero"/>
        <c:auto val="1"/>
        <c:lblAlgn val="ctr"/>
        <c:lblOffset val="100"/>
        <c:noMultiLvlLbl val="0"/>
      </c:catAx>
      <c:valAx>
        <c:axId val="2635776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59040"/>
        <c:crosses val="autoZero"/>
        <c:crossBetween val="between"/>
      </c:valAx>
      <c:catAx>
        <c:axId val="2635810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9520"/>
        <c:crosses val="autoZero"/>
        <c:auto val="1"/>
        <c:lblAlgn val="ctr"/>
        <c:lblOffset val="100"/>
        <c:noMultiLvlLbl val="0"/>
      </c:catAx>
      <c:valAx>
        <c:axId val="2635795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810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Weekly Download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2637055931389"/>
          <c:y val="0.122089621609799"/>
          <c:w val="0.790652656094045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0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19</c:v>
                </c:pt>
                <c:pt idx="43">
                  <c:v>8</c:v>
                </c:pt>
                <c:pt idx="44">
                  <c:v>2</c:v>
                </c:pt>
                <c:pt idx="45">
                  <c:v>17</c:v>
                </c:pt>
                <c:pt idx="46">
                  <c:v>9</c:v>
                </c:pt>
                <c:pt idx="47">
                  <c:v>15</c:v>
                </c:pt>
                <c:pt idx="48">
                  <c:v>20</c:v>
                </c:pt>
                <c:pt idx="49">
                  <c:v>9</c:v>
                </c:pt>
                <c:pt idx="50">
                  <c:v>1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C$2:$C$52</c:f>
              <c:numCache>
                <c:formatCode>General</c:formatCode>
                <c:ptCount val="51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5</c:v>
                </c:pt>
                <c:pt idx="43">
                  <c:v>5</c:v>
                </c:pt>
                <c:pt idx="44">
                  <c:v>5</c:v>
                </c:pt>
                <c:pt idx="45">
                  <c:v>0</c:v>
                </c:pt>
                <c:pt idx="46">
                  <c:v>2</c:v>
                </c:pt>
                <c:pt idx="47">
                  <c:v>4</c:v>
                </c:pt>
                <c:pt idx="48">
                  <c:v>1</c:v>
                </c:pt>
                <c:pt idx="49">
                  <c:v>2</c:v>
                </c:pt>
                <c:pt idx="50">
                  <c:v>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D$2:$D$52</c:f>
              <c:numCache>
                <c:formatCode>General</c:formatCode>
                <c:ptCount val="51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667328"/>
        <c:axId val="20166963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downloads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E$2:$E$52</c:f>
              <c:numCache>
                <c:formatCode>0</c:formatCode>
                <c:ptCount val="51"/>
                <c:pt idx="0">
                  <c:v>8</c:v>
                </c:pt>
                <c:pt idx="1">
                  <c:v>31.5</c:v>
                </c:pt>
                <c:pt idx="2">
                  <c:v>30.3333333333333</c:v>
                </c:pt>
                <c:pt idx="3">
                  <c:v>28.25</c:v>
                </c:pt>
                <c:pt idx="4">
                  <c:v>30.8</c:v>
                </c:pt>
                <c:pt idx="5">
                  <c:v>32.3333333333333</c:v>
                </c:pt>
                <c:pt idx="6">
                  <c:v>31.5714285714286</c:v>
                </c:pt>
                <c:pt idx="7">
                  <c:v>30.125</c:v>
                </c:pt>
                <c:pt idx="8">
                  <c:v>32.1111111111111</c:v>
                </c:pt>
                <c:pt idx="9">
                  <c:v>44.3</c:v>
                </c:pt>
                <c:pt idx="10">
                  <c:v>42.3636363636364</c:v>
                </c:pt>
                <c:pt idx="11">
                  <c:v>41.0833333333333</c:v>
                </c:pt>
                <c:pt idx="12">
                  <c:v>39.3846153846154</c:v>
                </c:pt>
                <c:pt idx="13">
                  <c:v>38.0714285714286</c:v>
                </c:pt>
                <c:pt idx="14">
                  <c:v>36.8</c:v>
                </c:pt>
                <c:pt idx="15">
                  <c:v>35.4375</c:v>
                </c:pt>
                <c:pt idx="16">
                  <c:v>34.3529411764706</c:v>
                </c:pt>
                <c:pt idx="17">
                  <c:v>33.8333333333333</c:v>
                </c:pt>
                <c:pt idx="18">
                  <c:v>32.5263157894737</c:v>
                </c:pt>
                <c:pt idx="19">
                  <c:v>32.8</c:v>
                </c:pt>
                <c:pt idx="20">
                  <c:v>33.0952380952381</c:v>
                </c:pt>
                <c:pt idx="21">
                  <c:v>32.6818181818182</c:v>
                </c:pt>
                <c:pt idx="22">
                  <c:v>32.4782608695652</c:v>
                </c:pt>
                <c:pt idx="23">
                  <c:v>32.0833333333333</c:v>
                </c:pt>
                <c:pt idx="24">
                  <c:v>31.92</c:v>
                </c:pt>
                <c:pt idx="25">
                  <c:v>31.5</c:v>
                </c:pt>
                <c:pt idx="26">
                  <c:v>30.8518518518519</c:v>
                </c:pt>
                <c:pt idx="27">
                  <c:v>30.25</c:v>
                </c:pt>
                <c:pt idx="28">
                  <c:v>29.7586206896552</c:v>
                </c:pt>
                <c:pt idx="29">
                  <c:v>29.6</c:v>
                </c:pt>
                <c:pt idx="30">
                  <c:v>29.1612903225806</c:v>
                </c:pt>
                <c:pt idx="31">
                  <c:v>28.875</c:v>
                </c:pt>
                <c:pt idx="32">
                  <c:v>28.9090909090909</c:v>
                </c:pt>
                <c:pt idx="33">
                  <c:v>28.6470588235294</c:v>
                </c:pt>
                <c:pt idx="34">
                  <c:v>28.6857142857143</c:v>
                </c:pt>
                <c:pt idx="35">
                  <c:v>28.4166666666667</c:v>
                </c:pt>
                <c:pt idx="36">
                  <c:v>28.027027027027</c:v>
                </c:pt>
                <c:pt idx="37">
                  <c:v>27.6052631578947</c:v>
                </c:pt>
                <c:pt idx="38">
                  <c:v>27.5384615384615</c:v>
                </c:pt>
                <c:pt idx="39">
                  <c:v>27.15</c:v>
                </c:pt>
                <c:pt idx="40">
                  <c:v>26.7073170731707</c:v>
                </c:pt>
                <c:pt idx="41">
                  <c:v>26.8571428571429</c:v>
                </c:pt>
                <c:pt idx="42">
                  <c:v>26.7906976744186</c:v>
                </c:pt>
                <c:pt idx="43">
                  <c:v>26.4772727272727</c:v>
                </c:pt>
                <c:pt idx="44">
                  <c:v>26.0444444444444</c:v>
                </c:pt>
                <c:pt idx="45">
                  <c:v>25.8478260869565</c:v>
                </c:pt>
                <c:pt idx="46">
                  <c:v>25.531914893617</c:v>
                </c:pt>
                <c:pt idx="47">
                  <c:v>25.3958333333333</c:v>
                </c:pt>
                <c:pt idx="48">
                  <c:v>25.3061224489796</c:v>
                </c:pt>
                <c:pt idx="49">
                  <c:v>25.02</c:v>
                </c:pt>
                <c:pt idx="50">
                  <c:v>24.882352941176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702016"/>
        <c:axId val="201700480"/>
      </c:lineChart>
      <c:dateAx>
        <c:axId val="20166732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9632"/>
        <c:crosses val="autoZero"/>
        <c:auto val="0"/>
        <c:lblAlgn val="ctr"/>
        <c:lblOffset val="100"/>
        <c:baseTimeUnit val="days"/>
      </c:dateAx>
      <c:valAx>
        <c:axId val="201669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7328"/>
        <c:crosses val="autoZero"/>
        <c:crossBetween val="between"/>
      </c:valAx>
      <c:catAx>
        <c:axId val="2017020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0480"/>
        <c:crosses val="autoZero"/>
        <c:auto val="1"/>
        <c:lblAlgn val="ctr"/>
        <c:lblOffset val="100"/>
        <c:noMultiLvlLbl val="0"/>
      </c:catAx>
      <c:valAx>
        <c:axId val="20170048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201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6384976525822"/>
          <c:y val="0.886458333333333"/>
          <c:w val="0.852112676056338"/>
          <c:h val="0.1031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Daily Downloads</a:t>
            </a:r>
            <a:endParaRPr lang="en-US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4177207337489"/>
          <c:y val="0.152993098031772"/>
          <c:w val="0.804889837713948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E$2:$E$52</c:f>
              <c:numCache>
                <c:formatCode>0</c:formatCode>
                <c:ptCount val="51"/>
                <c:pt idx="0">
                  <c:v>4</c:v>
                </c:pt>
                <c:pt idx="1">
                  <c:v>6.57142857142857</c:v>
                </c:pt>
                <c:pt idx="2">
                  <c:v>2.57142857142857</c:v>
                </c:pt>
                <c:pt idx="3">
                  <c:v>2.42857142857143</c:v>
                </c:pt>
                <c:pt idx="4">
                  <c:v>2.71428571428571</c:v>
                </c:pt>
                <c:pt idx="5">
                  <c:v>3.28571428571429</c:v>
                </c:pt>
                <c:pt idx="6">
                  <c:v>3</c:v>
                </c:pt>
                <c:pt idx="7">
                  <c:v>2</c:v>
                </c:pt>
                <c:pt idx="8">
                  <c:v>2.57142857142857</c:v>
                </c:pt>
                <c:pt idx="9">
                  <c:v>17.7142857142857</c:v>
                </c:pt>
                <c:pt idx="10">
                  <c:v>1.85714285714286</c:v>
                </c:pt>
                <c:pt idx="11">
                  <c:v>3.14285714285714</c:v>
                </c:pt>
                <c:pt idx="12">
                  <c:v>2</c:v>
                </c:pt>
                <c:pt idx="13">
                  <c:v>2.42857142857143</c:v>
                </c:pt>
                <c:pt idx="14">
                  <c:v>1.85714285714286</c:v>
                </c:pt>
                <c:pt idx="15">
                  <c:v>1.85714285714286</c:v>
                </c:pt>
                <c:pt idx="16">
                  <c:v>1.14285714285714</c:v>
                </c:pt>
                <c:pt idx="17">
                  <c:v>2.85714285714286</c:v>
                </c:pt>
                <c:pt idx="18">
                  <c:v>0.857142857142857</c:v>
                </c:pt>
                <c:pt idx="19">
                  <c:v>2.71428571428571</c:v>
                </c:pt>
                <c:pt idx="20">
                  <c:v>2.57142857142857</c:v>
                </c:pt>
                <c:pt idx="21">
                  <c:v>2.42857142857143</c:v>
                </c:pt>
                <c:pt idx="22">
                  <c:v>2.57142857142857</c:v>
                </c:pt>
                <c:pt idx="23">
                  <c:v>2.42857142857143</c:v>
                </c:pt>
                <c:pt idx="24">
                  <c:v>2.14285714285714</c:v>
                </c:pt>
                <c:pt idx="25">
                  <c:v>1.71428571428571</c:v>
                </c:pt>
                <c:pt idx="26">
                  <c:v>0.571428571428571</c:v>
                </c:pt>
                <c:pt idx="27">
                  <c:v>1.71428571428571</c:v>
                </c:pt>
                <c:pt idx="28">
                  <c:v>1.71428571428571</c:v>
                </c:pt>
                <c:pt idx="29">
                  <c:v>2.85714285714286</c:v>
                </c:pt>
                <c:pt idx="30">
                  <c:v>1.28571428571429</c:v>
                </c:pt>
                <c:pt idx="31">
                  <c:v>2.42857142857143</c:v>
                </c:pt>
                <c:pt idx="32">
                  <c:v>2.57142857142857</c:v>
                </c:pt>
                <c:pt idx="33">
                  <c:v>2.28571428571429</c:v>
                </c:pt>
                <c:pt idx="34">
                  <c:v>3.14285714285714</c:v>
                </c:pt>
                <c:pt idx="35">
                  <c:v>2</c:v>
                </c:pt>
                <c:pt idx="36">
                  <c:v>1.57142857142857</c:v>
                </c:pt>
                <c:pt idx="37">
                  <c:v>0.714285714285714</c:v>
                </c:pt>
                <c:pt idx="38">
                  <c:v>2.85714285714286</c:v>
                </c:pt>
                <c:pt idx="39">
                  <c:v>1</c:v>
                </c:pt>
                <c:pt idx="40">
                  <c:v>1</c:v>
                </c:pt>
                <c:pt idx="41">
                  <c:v>3.28571428571429</c:v>
                </c:pt>
                <c:pt idx="42">
                  <c:v>2.71428571428571</c:v>
                </c:pt>
                <c:pt idx="43">
                  <c:v>1.14285714285714</c:v>
                </c:pt>
                <c:pt idx="44">
                  <c:v>0.285714285714286</c:v>
                </c:pt>
                <c:pt idx="45">
                  <c:v>2.42857142857143</c:v>
                </c:pt>
                <c:pt idx="46">
                  <c:v>1.28571428571429</c:v>
                </c:pt>
                <c:pt idx="47">
                  <c:v>2.14285714285714</c:v>
                </c:pt>
                <c:pt idx="48">
                  <c:v>2.85714285714286</c:v>
                </c:pt>
                <c:pt idx="49">
                  <c:v>1.28571428571429</c:v>
                </c:pt>
                <c:pt idx="50">
                  <c:v>2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F$2:$F$52</c:f>
              <c:numCache>
                <c:formatCode>General</c:formatCode>
                <c:ptCount val="51"/>
                <c:pt idx="0">
                  <c:v>0</c:v>
                </c:pt>
                <c:pt idx="1" c:formatCode="0">
                  <c:v>1.28571428571429</c:v>
                </c:pt>
                <c:pt idx="2" c:formatCode="0">
                  <c:v>1.42857142857143</c:v>
                </c:pt>
                <c:pt idx="3" c:formatCode="0">
                  <c:v>0.714285714285714</c:v>
                </c:pt>
                <c:pt idx="4" c:formatCode="0">
                  <c:v>3.14285714285714</c:v>
                </c:pt>
                <c:pt idx="5" c:formatCode="0">
                  <c:v>2.42857142857143</c:v>
                </c:pt>
                <c:pt idx="6" c:formatCode="0">
                  <c:v>0.857142857142857</c:v>
                </c:pt>
                <c:pt idx="7" c:formatCode="0">
                  <c:v>0.857142857142857</c:v>
                </c:pt>
                <c:pt idx="8" c:formatCode="0">
                  <c:v>4.28571428571429</c:v>
                </c:pt>
                <c:pt idx="9" c:formatCode="0">
                  <c:v>4.28571428571429</c:v>
                </c:pt>
                <c:pt idx="10" c:formatCode="0">
                  <c:v>1.42857142857143</c:v>
                </c:pt>
                <c:pt idx="11" c:formatCode="0">
                  <c:v>0.714285714285714</c:v>
                </c:pt>
                <c:pt idx="12" c:formatCode="0">
                  <c:v>0.714285714285714</c:v>
                </c:pt>
                <c:pt idx="13" c:formatCode="0">
                  <c:v>0.571428571428571</c:v>
                </c:pt>
                <c:pt idx="14" c:formatCode="0">
                  <c:v>0.857142857142857</c:v>
                </c:pt>
                <c:pt idx="15" c:formatCode="0">
                  <c:v>0.285714285714286</c:v>
                </c:pt>
                <c:pt idx="16" c:formatCode="0">
                  <c:v>1.28571428571429</c:v>
                </c:pt>
                <c:pt idx="17" c:formatCode="0">
                  <c:v>0.714285714285714</c:v>
                </c:pt>
                <c:pt idx="18" c:formatCode="0">
                  <c:v>0.428571428571429</c:v>
                </c:pt>
                <c:pt idx="19" c:formatCode="0">
                  <c:v>2.71428571428571</c:v>
                </c:pt>
                <c:pt idx="20" c:formatCode="0">
                  <c:v>3</c:v>
                </c:pt>
                <c:pt idx="21" c:formatCode="0">
                  <c:v>1</c:v>
                </c:pt>
                <c:pt idx="22" c:formatCode="0">
                  <c:v>1.42857142857143</c:v>
                </c:pt>
                <c:pt idx="23" c:formatCode="0">
                  <c:v>0.857142857142857</c:v>
                </c:pt>
                <c:pt idx="24" c:formatCode="0">
                  <c:v>1.85714285714286</c:v>
                </c:pt>
                <c:pt idx="25" c:formatCode="0">
                  <c:v>1.28571428571429</c:v>
                </c:pt>
                <c:pt idx="26" c:formatCode="0">
                  <c:v>1.42857142857143</c:v>
                </c:pt>
                <c:pt idx="27" c:formatCode="0">
                  <c:v>0.285714285714286</c:v>
                </c:pt>
                <c:pt idx="28" c:formatCode="0">
                  <c:v>0.571428571428571</c:v>
                </c:pt>
                <c:pt idx="29" c:formatCode="0">
                  <c:v>0.714285714285714</c:v>
                </c:pt>
                <c:pt idx="30" c:formatCode="0">
                  <c:v>0.714285714285714</c:v>
                </c:pt>
                <c:pt idx="31" c:formatCode="0">
                  <c:v>0.428571428571429</c:v>
                </c:pt>
                <c:pt idx="32" c:formatCode="0">
                  <c:v>1.57142857142857</c:v>
                </c:pt>
                <c:pt idx="33" c:formatCode="0">
                  <c:v>0.571428571428571</c:v>
                </c:pt>
                <c:pt idx="34" c:formatCode="0">
                  <c:v>1.14285714285714</c:v>
                </c:pt>
                <c:pt idx="35" c:formatCode="0">
                  <c:v>0.714285714285714</c:v>
                </c:pt>
                <c:pt idx="36" c:formatCode="0">
                  <c:v>0.428571428571429</c:v>
                </c:pt>
                <c:pt idx="37" c:formatCode="0">
                  <c:v>1</c:v>
                </c:pt>
                <c:pt idx="38" c:formatCode="0">
                  <c:v>0.714285714285714</c:v>
                </c:pt>
                <c:pt idx="39" c:formatCode="0">
                  <c:v>0.714285714285714</c:v>
                </c:pt>
                <c:pt idx="40" c:formatCode="0">
                  <c:v>0.285714285714286</c:v>
                </c:pt>
                <c:pt idx="41" c:formatCode="0">
                  <c:v>1.42857142857143</c:v>
                </c:pt>
                <c:pt idx="42" c:formatCode="0">
                  <c:v>0.714285714285714</c:v>
                </c:pt>
                <c:pt idx="43" c:formatCode="0">
                  <c:v>0.714285714285714</c:v>
                </c:pt>
                <c:pt idx="44" c:formatCode="0">
                  <c:v>0.714285714285714</c:v>
                </c:pt>
                <c:pt idx="45" c:formatCode="0">
                  <c:v>0</c:v>
                </c:pt>
                <c:pt idx="46" c:formatCode="0">
                  <c:v>0.285714285714286</c:v>
                </c:pt>
                <c:pt idx="47" c:formatCode="0">
                  <c:v>0.571428571428571</c:v>
                </c:pt>
                <c:pt idx="48" c:formatCode="0">
                  <c:v>0.142857142857143</c:v>
                </c:pt>
                <c:pt idx="49" c:formatCode="0">
                  <c:v>0.285714285714286</c:v>
                </c:pt>
                <c:pt idx="50" c:formatCode="0">
                  <c:v>0.571428571428571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G$2:$G$52</c:f>
              <c:numCache>
                <c:formatCode>0</c:formatCode>
                <c:ptCount val="51"/>
                <c:pt idx="0">
                  <c:v>1.5</c:v>
                </c:pt>
                <c:pt idx="1">
                  <c:v>4.85714285714286</c:v>
                </c:pt>
                <c:pt idx="2">
                  <c:v>0.142857142857143</c:v>
                </c:pt>
                <c:pt idx="3">
                  <c:v>0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285714285714286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.142857142857143</c:v>
                </c:pt>
                <c:pt idx="22">
                  <c:v>0.142857142857143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.142857142857143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951104"/>
        <c:axId val="20195366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downloads 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H$2:$H$52</c:f>
              <c:numCache>
                <c:formatCode>0</c:formatCode>
                <c:ptCount val="51"/>
                <c:pt idx="0">
                  <c:v>5.5</c:v>
                </c:pt>
                <c:pt idx="1">
                  <c:v>12.7142857142857</c:v>
                </c:pt>
                <c:pt idx="2">
                  <c:v>4.14285714285714</c:v>
                </c:pt>
                <c:pt idx="3">
                  <c:v>3.14285714285714</c:v>
                </c:pt>
                <c:pt idx="4">
                  <c:v>5.99999999999999</c:v>
                </c:pt>
                <c:pt idx="5">
                  <c:v>5.71428571428572</c:v>
                </c:pt>
                <c:pt idx="6">
                  <c:v>3.85714285714286</c:v>
                </c:pt>
                <c:pt idx="7">
                  <c:v>3.14285714285714</c:v>
                </c:pt>
                <c:pt idx="8">
                  <c:v>6.85714285714286</c:v>
                </c:pt>
                <c:pt idx="9">
                  <c:v>22</c:v>
                </c:pt>
                <c:pt idx="10">
                  <c:v>3.28571428571429</c:v>
                </c:pt>
                <c:pt idx="11">
                  <c:v>3.85714285714285</c:v>
                </c:pt>
                <c:pt idx="12">
                  <c:v>2.71428571428571</c:v>
                </c:pt>
                <c:pt idx="13">
                  <c:v>3</c:v>
                </c:pt>
                <c:pt idx="14">
                  <c:v>2.71428571428572</c:v>
                </c:pt>
                <c:pt idx="15">
                  <c:v>2.14285714285715</c:v>
                </c:pt>
                <c:pt idx="16">
                  <c:v>2.42857142857143</c:v>
                </c:pt>
                <c:pt idx="17">
                  <c:v>3.57142857142857</c:v>
                </c:pt>
                <c:pt idx="18">
                  <c:v>1.28571428571429</c:v>
                </c:pt>
                <c:pt idx="19">
                  <c:v>5.42857142857142</c:v>
                </c:pt>
                <c:pt idx="20">
                  <c:v>5.57142857142857</c:v>
                </c:pt>
                <c:pt idx="21">
                  <c:v>3.57142857142857</c:v>
                </c:pt>
                <c:pt idx="22">
                  <c:v>4.14285714285714</c:v>
                </c:pt>
                <c:pt idx="23">
                  <c:v>3.28571428571429</c:v>
                </c:pt>
                <c:pt idx="24">
                  <c:v>4</c:v>
                </c:pt>
                <c:pt idx="25">
                  <c:v>3</c:v>
                </c:pt>
                <c:pt idx="26">
                  <c:v>2</c:v>
                </c:pt>
                <c:pt idx="27">
                  <c:v>2</c:v>
                </c:pt>
                <c:pt idx="28">
                  <c:v>2.28571428571428</c:v>
                </c:pt>
                <c:pt idx="29">
                  <c:v>3.57142857142857</c:v>
                </c:pt>
                <c:pt idx="30">
                  <c:v>2</c:v>
                </c:pt>
                <c:pt idx="31">
                  <c:v>2.85714285714286</c:v>
                </c:pt>
                <c:pt idx="32">
                  <c:v>4.14285714285714</c:v>
                </c:pt>
                <c:pt idx="33">
                  <c:v>2.85714285714286</c:v>
                </c:pt>
                <c:pt idx="34">
                  <c:v>4.28571428571428</c:v>
                </c:pt>
                <c:pt idx="35">
                  <c:v>2.71428571428571</c:v>
                </c:pt>
                <c:pt idx="36">
                  <c:v>2</c:v>
                </c:pt>
                <c:pt idx="37">
                  <c:v>1.71428571428571</c:v>
                </c:pt>
                <c:pt idx="38">
                  <c:v>3.57142857142857</c:v>
                </c:pt>
                <c:pt idx="39">
                  <c:v>1.71428571428571</c:v>
                </c:pt>
                <c:pt idx="40">
                  <c:v>1.28571428571429</c:v>
                </c:pt>
                <c:pt idx="41">
                  <c:v>4.71428571428571</c:v>
                </c:pt>
                <c:pt idx="42">
                  <c:v>3.57142857142857</c:v>
                </c:pt>
                <c:pt idx="43">
                  <c:v>1.85714285714286</c:v>
                </c:pt>
                <c:pt idx="44">
                  <c:v>1</c:v>
                </c:pt>
                <c:pt idx="45">
                  <c:v>2.42857142857143</c:v>
                </c:pt>
                <c:pt idx="46">
                  <c:v>1.57142857142857</c:v>
                </c:pt>
                <c:pt idx="47">
                  <c:v>2.71428571428571</c:v>
                </c:pt>
                <c:pt idx="48">
                  <c:v>3</c:v>
                </c:pt>
                <c:pt idx="49">
                  <c:v>1.57142857142857</c:v>
                </c:pt>
                <c:pt idx="50">
                  <c:v>2.571428571428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969664"/>
        <c:axId val="201955584"/>
      </c:lineChart>
      <c:dateAx>
        <c:axId val="201951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3664"/>
        <c:crosses val="autoZero"/>
        <c:auto val="0"/>
        <c:lblAlgn val="ctr"/>
        <c:lblOffset val="100"/>
        <c:baseTimeUnit val="days"/>
      </c:dateAx>
      <c:valAx>
        <c:axId val="201953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1104"/>
        <c:crosses val="autoZero"/>
        <c:crossBetween val="between"/>
      </c:valAx>
      <c:catAx>
        <c:axId val="201969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5584"/>
        <c:crosses val="autoZero"/>
        <c:auto val="1"/>
        <c:lblAlgn val="ctr"/>
        <c:lblOffset val="100"/>
        <c:noMultiLvlLbl val="0"/>
      </c:catAx>
      <c:valAx>
        <c:axId val="201955584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6966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33120491900201"/>
          <c:y val="0.867904877625412"/>
          <c:w val="0.853494146860589"/>
          <c:h val="0.1112654053115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b="0" cap="none" baseline="0" dirty="0">
                <a:effectLst/>
              </a:rPr>
              <a:t>Monthly Downloads</a:t>
            </a:r>
            <a:endParaRPr lang="zh-CN" altLang="zh-CN" b="0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813597863056863"/>
          <c:y val="0.134242623081206"/>
          <c:w val="0.85995106020818"/>
          <c:h val="0.6980410403245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79</c:v>
                </c:pt>
                <c:pt idx="1">
                  <c:v>85</c:v>
                </c:pt>
                <c:pt idx="2">
                  <c:v>179</c:v>
                </c:pt>
                <c:pt idx="3">
                  <c:v>62</c:v>
                </c:pt>
                <c:pt idx="4">
                  <c:v>65</c:v>
                </c:pt>
                <c:pt idx="5">
                  <c:v>69</c:v>
                </c:pt>
                <c:pt idx="6">
                  <c:v>51</c:v>
                </c:pt>
                <c:pt idx="7">
                  <c:v>69</c:v>
                </c:pt>
                <c:pt idx="8">
                  <c:v>63</c:v>
                </c:pt>
                <c:pt idx="9">
                  <c:v>78</c:v>
                </c:pt>
                <c:pt idx="10">
                  <c:v>40</c:v>
                </c:pt>
                <c:pt idx="11">
                  <c:v>6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0</c:v>
                </c:pt>
                <c:pt idx="1">
                  <c:v>54</c:v>
                </c:pt>
                <c:pt idx="2">
                  <c:v>76</c:v>
                </c:pt>
                <c:pt idx="3">
                  <c:v>21</c:v>
                </c:pt>
                <c:pt idx="4">
                  <c:v>51</c:v>
                </c:pt>
                <c:pt idx="5">
                  <c:v>39</c:v>
                </c:pt>
                <c:pt idx="6">
                  <c:v>27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14</c:v>
                </c:pt>
                <c:pt idx="11">
                  <c:v>1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B0A30"/>
              </a:solidFill>
              <a:ln w="28575" cap="rnd">
                <a:noFill/>
                <a:round/>
              </a:ln>
              <a:effectLst/>
            </c:spPr>
          </c:dPt>
          <c:dLbls>
            <c:dLbl>
              <c:idx val="3"/>
              <c:delete val="1"/>
            </c:dLbl>
            <c:dLbl>
              <c:idx val="4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38</c:v>
                </c:pt>
                <c:pt idx="1">
                  <c:v>1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2530816"/>
        <c:axId val="202533504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7F7F7F"/>
              </a:solidFill>
              <a:ln w="9525" cap="flat" cmpd="sng" algn="ctr">
                <a:solidFill>
                  <a:schemeClr val="bg1">
                    <a:lumMod val="50000"/>
                  </a:schemeClr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E$2:$E$13</c:f>
              <c:numCache>
                <c:formatCode>0%</c:formatCode>
                <c:ptCount val="12"/>
                <c:pt idx="0">
                  <c:v>#N/A</c:v>
                </c:pt>
                <c:pt idx="1">
                  <c:v>1.02189781021898</c:v>
                </c:pt>
                <c:pt idx="2">
                  <c:v>1.83571428571429</c:v>
                </c:pt>
                <c:pt idx="3">
                  <c:v>0.32295719844358</c:v>
                </c:pt>
                <c:pt idx="4">
                  <c:v>1.39759036144578</c:v>
                </c:pt>
                <c:pt idx="5">
                  <c:v>0.948275862068966</c:v>
                </c:pt>
                <c:pt idx="6">
                  <c:v>0.709090909090909</c:v>
                </c:pt>
                <c:pt idx="7">
                  <c:v>1.20512820512821</c:v>
                </c:pt>
                <c:pt idx="8">
                  <c:v>0.946808510638298</c:v>
                </c:pt>
                <c:pt idx="9">
                  <c:v>1.20224719101124</c:v>
                </c:pt>
                <c:pt idx="10">
                  <c:v>0.504672897196262</c:v>
                </c:pt>
                <c:pt idx="11">
                  <c:v>1.38888888888889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Lbl>
              <c:idx val="2"/>
              <c:layout>
                <c:manualLayout>
                  <c:x val="-0.0221623060952193"/>
                  <c:y val="0.030303030303030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F$2:$F$13</c:f>
              <c:numCache>
                <c:formatCode>0%</c:formatCode>
                <c:ptCount val="12"/>
                <c:pt idx="0">
                  <c:v>#N/A</c:v>
                </c:pt>
                <c:pt idx="1">
                  <c:v>0.0218978102189781</c:v>
                </c:pt>
                <c:pt idx="2">
                  <c:v>0.835714285714286</c:v>
                </c:pt>
                <c:pt idx="3">
                  <c:v>-0.67704280155642</c:v>
                </c:pt>
                <c:pt idx="4">
                  <c:v>0.397590361445783</c:v>
                </c:pt>
                <c:pt idx="5">
                  <c:v>-0.0517241379310345</c:v>
                </c:pt>
                <c:pt idx="6">
                  <c:v>-0.290909090909091</c:v>
                </c:pt>
                <c:pt idx="7">
                  <c:v>0.205128205128205</c:v>
                </c:pt>
                <c:pt idx="8">
                  <c:v>-0.0531914893617021</c:v>
                </c:pt>
                <c:pt idx="9">
                  <c:v>0.202247191011236</c:v>
                </c:pt>
                <c:pt idx="10">
                  <c:v>-0.495327102803738</c:v>
                </c:pt>
                <c:pt idx="11">
                  <c:v>0.388888888888889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2545408"/>
        <c:axId val="202543872"/>
      </c:lineChart>
      <c:catAx>
        <c:axId val="20253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3504"/>
        <c:crosses val="autoZero"/>
        <c:auto val="1"/>
        <c:lblAlgn val="ctr"/>
        <c:lblOffset val="100"/>
        <c:noMultiLvlLbl val="0"/>
      </c:catAx>
      <c:valAx>
        <c:axId val="2025335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0816"/>
        <c:crosses val="autoZero"/>
        <c:crossBetween val="between"/>
      </c:valAx>
      <c:catAx>
        <c:axId val="202545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3872"/>
        <c:crosses val="autoZero"/>
        <c:auto val="1"/>
        <c:lblAlgn val="ctr"/>
        <c:lblOffset val="100"/>
        <c:noMultiLvlLbl val="0"/>
      </c:catAx>
      <c:valAx>
        <c:axId val="20254387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54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13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0:$A$106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B$100:$B$106</c:f>
              <c:numCache>
                <c:formatCode>General</c:formatCode>
                <c:ptCount val="7"/>
                <c:pt idx="0">
                  <c:v>2</c:v>
                </c:pt>
                <c:pt idx="1">
                  <c:v>4</c:v>
                </c:pt>
                <c:pt idx="2">
                  <c:v>4</c:v>
                </c:pt>
                <c:pt idx="3">
                  <c:v>1</c:v>
                </c:pt>
                <c:pt idx="4">
                  <c:v>2</c:v>
                </c:pt>
                <c:pt idx="5">
                  <c:v>3</c:v>
                </c:pt>
                <c:pt idx="6">
                  <c:v>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0:$A$106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C$100:$C$106</c:f>
              <c:numCache>
                <c:formatCode>0%</c:formatCode>
                <c:ptCount val="7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-0.75</c:v>
                </c:pt>
                <c:pt idx="4">
                  <c:v>1</c:v>
                </c:pt>
                <c:pt idx="5">
                  <c:v>0.5</c:v>
                </c:pt>
                <c:pt idx="6">
                  <c:v>-0.333333333333333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en-US" altLang="zh-CN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12700" cmpd="sng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12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99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B$93:$B$99</c:f>
              <c:numCache>
                <c:formatCode>General</c:formatCode>
                <c:ptCount val="7"/>
                <c:pt idx="0">
                  <c:v>3</c:v>
                </c:pt>
                <c:pt idx="1">
                  <c:v>3</c:v>
                </c:pt>
                <c:pt idx="2">
                  <c:v>5</c:v>
                </c:pt>
                <c:pt idx="3">
                  <c:v>1</c:v>
                </c:pt>
                <c:pt idx="4">
                  <c:v>2</c:v>
                </c:pt>
                <c:pt idx="5">
                  <c:v>4</c:v>
                </c:pt>
                <c:pt idx="6">
                  <c:v>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99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C$93:$C$99</c:f>
              <c:numCache>
                <c:formatCode>0%</c:formatCode>
                <c:ptCount val="7"/>
                <c:pt idx="0">
                  <c:v>2</c:v>
                </c:pt>
                <c:pt idx="1">
                  <c:v>0</c:v>
                </c:pt>
                <c:pt idx="2">
                  <c:v>0.666666666666667</c:v>
                </c:pt>
                <c:pt idx="3">
                  <c:v>-0.8</c:v>
                </c:pt>
                <c:pt idx="4">
                  <c:v>1</c:v>
                </c:pt>
                <c:pt idx="5">
                  <c:v>1</c:v>
                </c:pt>
                <c:pt idx="6">
                  <c:v>-0.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en-US" altLang="zh-CN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12700" cmpd="sng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2899888993433"/>
          <c:y val="0.088921761618033"/>
          <c:w val="0.859898913605603"/>
          <c:h val="0.7187849312953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  <c:pt idx="47">
                  <c:v>29</c:v>
                </c:pt>
                <c:pt idx="48">
                  <c:v>16</c:v>
                </c:pt>
                <c:pt idx="49">
                  <c:v>20</c:v>
                </c:pt>
                <c:pt idx="50">
                  <c:v>1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5634944"/>
        <c:axId val="2057239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C$2:$C$52</c:f>
              <c:numCache>
                <c:formatCode>0%</c:formatCode>
                <c:ptCount val="51"/>
                <c:pt idx="0">
                  <c:v>#N/A</c:v>
                </c:pt>
                <c:pt idx="1">
                  <c:v>#N/A</c:v>
                </c:pt>
                <c:pt idx="2" c:formatCode="0.00%">
                  <c:v>0.478260869565217</c:v>
                </c:pt>
                <c:pt idx="3" c:formatCode="0.00%">
                  <c:v>0.313725490196078</c:v>
                </c:pt>
                <c:pt idx="4" c:formatCode="0.00%">
                  <c:v>0.276119402985075</c:v>
                </c:pt>
                <c:pt idx="5" c:formatCode="0.00%">
                  <c:v>0.16374269005848</c:v>
                </c:pt>
                <c:pt idx="6" c:formatCode="0.00%">
                  <c:v>0.206030150753769</c:v>
                </c:pt>
                <c:pt idx="7" c:formatCode="0.00%">
                  <c:v>0.15</c:v>
                </c:pt>
                <c:pt idx="8" c:formatCode="0.00%">
                  <c:v>0.13768115942029</c:v>
                </c:pt>
                <c:pt idx="9" c:formatCode="0.00%">
                  <c:v>0.417197452229299</c:v>
                </c:pt>
                <c:pt idx="10" c:formatCode="0.00%">
                  <c:v>0.123595505617978</c:v>
                </c:pt>
                <c:pt idx="11" c:formatCode="0.00%">
                  <c:v>0.072</c:v>
                </c:pt>
                <c:pt idx="12" c:formatCode="0.00%">
                  <c:v>0.0634328358208955</c:v>
                </c:pt>
                <c:pt idx="13" c:formatCode="0.00%">
                  <c:v>0.0526315789473684</c:v>
                </c:pt>
                <c:pt idx="14" c:formatCode="0.00%">
                  <c:v>0.0333333333333333</c:v>
                </c:pt>
                <c:pt idx="15" c:formatCode="0.00%">
                  <c:v>0.0387096774193548</c:v>
                </c:pt>
                <c:pt idx="16" c:formatCode="0.00%">
                  <c:v>0.0279503105590062</c:v>
                </c:pt>
                <c:pt idx="17" c:formatCode="0.00%">
                  <c:v>0.0498489425981873</c:v>
                </c:pt>
                <c:pt idx="18" c:formatCode="0.00%">
                  <c:v>0.0158273381294964</c:v>
                </c:pt>
                <c:pt idx="19" c:formatCode="0.00%">
                  <c:v>0.0368271954674221</c:v>
                </c:pt>
                <c:pt idx="20" c:formatCode="0.00%">
                  <c:v>0.0423497267759563</c:v>
                </c:pt>
                <c:pt idx="21" c:formatCode="0.00%">
                  <c:v>0.0432503276539974</c:v>
                </c:pt>
                <c:pt idx="22" c:formatCode="0.00%">
                  <c:v>0.0351758793969849</c:v>
                </c:pt>
                <c:pt idx="23" c:formatCode="0.00%">
                  <c:v>0.0364077669902913</c:v>
                </c:pt>
                <c:pt idx="24" c:formatCode="0.00%">
                  <c:v>0.0351288056206089</c:v>
                </c:pt>
                <c:pt idx="25" c:formatCode="0.00%">
                  <c:v>0.0203619909502262</c:v>
                </c:pt>
                <c:pt idx="26" c:formatCode="0.00%">
                  <c:v>0.0221729490022173</c:v>
                </c:pt>
                <c:pt idx="27" c:formatCode="0.00%">
                  <c:v>0.0162689804772234</c:v>
                </c:pt>
                <c:pt idx="28" c:formatCode="0.00%">
                  <c:v>0.0202774813233725</c:v>
                </c:pt>
                <c:pt idx="29" c:formatCode="0.00%">
                  <c:v>0.0313807531380753</c:v>
                </c:pt>
                <c:pt idx="30" c:formatCode="0.00%">
                  <c:v>0.0283975659229209</c:v>
                </c:pt>
                <c:pt idx="31" c:formatCode="0.00%">
                  <c:v>0.0266272189349112</c:v>
                </c:pt>
                <c:pt idx="32" c:formatCode="0.00%">
                  <c:v>0.0288184438040346</c:v>
                </c:pt>
                <c:pt idx="33" c:formatCode="0.00%">
                  <c:v>0.0224089635854342</c:v>
                </c:pt>
                <c:pt idx="34" c:formatCode="0.00%">
                  <c:v>0.0264840182648402</c:v>
                </c:pt>
                <c:pt idx="35" c:formatCode="0.00%">
                  <c:v>0.0186832740213523</c:v>
                </c:pt>
                <c:pt idx="36" c:formatCode="0.00%">
                  <c:v>0.0244541484716157</c:v>
                </c:pt>
                <c:pt idx="37" c:formatCode="0.00%">
                  <c:v>0.0144927536231884</c:v>
                </c:pt>
                <c:pt idx="38" c:formatCode="0.00%">
                  <c:v>0.0235294117647059</c:v>
                </c:pt>
                <c:pt idx="39" c:formatCode="0.00%">
                  <c:v>0.0172413793103448</c:v>
                </c:pt>
                <c:pt idx="40" c:formatCode="0.00%">
                  <c:v>0.0112994350282486</c:v>
                </c:pt>
                <c:pt idx="41" c:formatCode="0.00%">
                  <c:v>0.0207501995211492</c:v>
                </c:pt>
                <c:pt idx="42" c:formatCode="0.00%">
                  <c:v>0.019546520719312</c:v>
                </c:pt>
                <c:pt idx="43" c:formatCode="0.00%">
                  <c:v>0.0107361963190184</c:v>
                </c:pt>
                <c:pt idx="44" c:formatCode="0.00%">
                  <c:v>0.0189681335356601</c:v>
                </c:pt>
                <c:pt idx="45" c:formatCode="0.00%">
                  <c:v>0.0178704393149665</c:v>
                </c:pt>
                <c:pt idx="46" c:formatCode="0.00%">
                  <c:v>0.0204828090709583</c:v>
                </c:pt>
                <c:pt idx="47" c:formatCode="0.00%">
                  <c:v>0.0207885304659498</c:v>
                </c:pt>
                <c:pt idx="48" c:formatCode="0.00%">
                  <c:v>0.0112359550561798</c:v>
                </c:pt>
                <c:pt idx="49" c:formatCode="0.00%">
                  <c:v>0.0138888888888889</c:v>
                </c:pt>
                <c:pt idx="50" c:formatCode="0.00%">
                  <c:v>0.012328767123287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rgbClr val="C4C4C4"/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D$2:$D$52</c:f>
              <c:numCache>
                <c:formatCode>0%</c:formatCode>
                <c:ptCount val="51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76190476190476</c:v>
                </c:pt>
                <c:pt idx="3" c:formatCode="0.00%">
                  <c:v>-0.0303030303030303</c:v>
                </c:pt>
                <c:pt idx="4" c:formatCode="0.00%">
                  <c:v>0.15625</c:v>
                </c:pt>
                <c:pt idx="5" c:formatCode="0.00%">
                  <c:v>-0.243243243243243</c:v>
                </c:pt>
                <c:pt idx="6" c:formatCode="0.00%">
                  <c:v>0.464285714285714</c:v>
                </c:pt>
                <c:pt idx="7" c:formatCode="0.00%">
                  <c:v>-0.121951219512195</c:v>
                </c:pt>
                <c:pt idx="8" c:formatCode="0.00%">
                  <c:v>0.0555555555555556</c:v>
                </c:pt>
                <c:pt idx="9" c:formatCode="0.00%">
                  <c:v>2.44736842105263</c:v>
                </c:pt>
                <c:pt idx="10" c:formatCode="0.00%">
                  <c:v>-0.580152671755725</c:v>
                </c:pt>
                <c:pt idx="11" c:formatCode="0.00%">
                  <c:v>-0.345454545454545</c:v>
                </c:pt>
                <c:pt idx="12" c:formatCode="0.00%">
                  <c:v>-0.0555555555555556</c:v>
                </c:pt>
                <c:pt idx="13" c:formatCode="0.00%">
                  <c:v>-0.117647058823529</c:v>
                </c:pt>
                <c:pt idx="14" c:formatCode="0.00%">
                  <c:v>-0.333333333333333</c:v>
                </c:pt>
                <c:pt idx="15" c:formatCode="0.00%">
                  <c:v>0.2</c:v>
                </c:pt>
                <c:pt idx="16" c:formatCode="0.00%">
                  <c:v>-0.25</c:v>
                </c:pt>
                <c:pt idx="17" c:formatCode="0.00%">
                  <c:v>0.833333333333333</c:v>
                </c:pt>
                <c:pt idx="18" c:formatCode="0.00%">
                  <c:v>-0.666666666666667</c:v>
                </c:pt>
                <c:pt idx="19" c:formatCode="0.00%">
                  <c:v>1.36363636363636</c:v>
                </c:pt>
                <c:pt idx="20" c:formatCode="0.00%">
                  <c:v>0.192307692307692</c:v>
                </c:pt>
                <c:pt idx="21" c:formatCode="0.00%">
                  <c:v>0.0645161290322581</c:v>
                </c:pt>
                <c:pt idx="22" c:formatCode="0.00%">
                  <c:v>-0.151515151515152</c:v>
                </c:pt>
                <c:pt idx="23" c:formatCode="0.00%">
                  <c:v>0.0714285714285714</c:v>
                </c:pt>
                <c:pt idx="24" c:formatCode="0.00%">
                  <c:v>0</c:v>
                </c:pt>
                <c:pt idx="25" c:formatCode="0.00%">
                  <c:v>-0.4</c:v>
                </c:pt>
                <c:pt idx="26" c:formatCode="0.00%">
                  <c:v>0.111111111111111</c:v>
                </c:pt>
                <c:pt idx="27" c:formatCode="0.00%">
                  <c:v>-0.25</c:v>
                </c:pt>
                <c:pt idx="28" c:formatCode="0.00%">
                  <c:v>0.266666666666667</c:v>
                </c:pt>
                <c:pt idx="29" c:formatCode="0.00%">
                  <c:v>0.578947368421053</c:v>
                </c:pt>
                <c:pt idx="30" c:formatCode="0.00%">
                  <c:v>-0.0666666666666667</c:v>
                </c:pt>
                <c:pt idx="31" c:formatCode="0.00%">
                  <c:v>-0.0357142857142857</c:v>
                </c:pt>
                <c:pt idx="32" c:formatCode="0.00%">
                  <c:v>0.111111111111111</c:v>
                </c:pt>
                <c:pt idx="33" c:formatCode="0.00%">
                  <c:v>-0.2</c:v>
                </c:pt>
                <c:pt idx="34" c:formatCode="0.00%">
                  <c:v>0.208333333333333</c:v>
                </c:pt>
                <c:pt idx="35" c:formatCode="0.00%">
                  <c:v>-0.275862068965517</c:v>
                </c:pt>
                <c:pt idx="36" c:formatCode="0.00%">
                  <c:v>0.333333333333333</c:v>
                </c:pt>
                <c:pt idx="37" c:formatCode="0.00%">
                  <c:v>-0.392857142857143</c:v>
                </c:pt>
                <c:pt idx="38" c:formatCode="0.00%">
                  <c:v>0.647058823529412</c:v>
                </c:pt>
                <c:pt idx="39" c:formatCode="0.00%">
                  <c:v>-0.25</c:v>
                </c:pt>
                <c:pt idx="40" c:formatCode="0.00%">
                  <c:v>-0.333333333333333</c:v>
                </c:pt>
                <c:pt idx="41" c:formatCode="0.00%">
                  <c:v>0.857142857142857</c:v>
                </c:pt>
                <c:pt idx="42" c:formatCode="0.00%">
                  <c:v>-0.0384615384615385</c:v>
                </c:pt>
                <c:pt idx="43" c:formatCode="0.00%">
                  <c:v>-0.44</c:v>
                </c:pt>
                <c:pt idx="44" c:formatCode="0.00%">
                  <c:v>0.785714285714286</c:v>
                </c:pt>
                <c:pt idx="45" c:formatCode="0.00%">
                  <c:v>-0.04</c:v>
                </c:pt>
                <c:pt idx="46" c:formatCode="0.00%">
                  <c:v>0.166666666666667</c:v>
                </c:pt>
                <c:pt idx="47" c:formatCode="0.00%">
                  <c:v>0.0357142857142857</c:v>
                </c:pt>
                <c:pt idx="48" c:formatCode="0.00%">
                  <c:v>-0.448275862068966</c:v>
                </c:pt>
                <c:pt idx="49" c:formatCode="0.00%">
                  <c:v>0.25</c:v>
                </c:pt>
                <c:pt idx="50" c:formatCode="0.00%">
                  <c:v>-0.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5728384"/>
        <c:axId val="205726464"/>
      </c:lineChart>
      <c:catAx>
        <c:axId val="2056349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3904"/>
        <c:crosses val="autoZero"/>
        <c:auto val="1"/>
        <c:lblAlgn val="ctr"/>
        <c:lblOffset val="100"/>
        <c:noMultiLvlLbl val="0"/>
      </c:catAx>
      <c:valAx>
        <c:axId val="2057239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Amount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34944"/>
        <c:crosses val="autoZero"/>
        <c:crossBetween val="between"/>
      </c:valAx>
      <c:catAx>
        <c:axId val="205728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464"/>
        <c:crosses val="autoZero"/>
        <c:auto val="1"/>
        <c:lblAlgn val="ctr"/>
        <c:lblOffset val="100"/>
        <c:noMultiLvlLbl val="0"/>
      </c:catAx>
      <c:valAx>
        <c:axId val="205726464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83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0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A75A0-C9D0-4B3F-90BC-8AB9A354A6C2}" type="datetimeFigureOut">
              <a:rPr lang="de-DE" smtClean="0"/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965F0-0622-4810-9925-69BF6AF2077F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B1C147-AF00-4028-8E5C-577761F9EE39}" type="datetimeFigureOut">
              <a:rPr lang="de-DE" smtClean="0"/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68660" y="4343400"/>
            <a:ext cx="612068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9705" lvl="0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Textmasterformat bearbeiten</a:t>
            </a:r>
            <a:endParaRPr lang="de-DE" dirty="0"/>
          </a:p>
          <a:p>
            <a:pPr marL="360045" lvl="1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Zweite Ebene</a:t>
            </a:r>
            <a:endParaRPr lang="de-DE" dirty="0"/>
          </a:p>
          <a:p>
            <a:pPr marL="539750" lvl="2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Dritte Ebene</a:t>
            </a:r>
            <a:endParaRPr lang="de-DE" dirty="0"/>
          </a:p>
          <a:p>
            <a:pPr marL="720090" lvl="3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Vierte Ebene</a:t>
            </a:r>
            <a:endParaRPr lang="de-DE" dirty="0"/>
          </a:p>
          <a:p>
            <a:pPr marL="899795" lvl="4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17487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417486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69540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11" name="Gerade Verbindung 10"/>
          <p:cNvCxnSpPr/>
          <p:nvPr/>
        </p:nvCxnSpPr>
        <p:spPr bwMode="gray">
          <a:xfrm>
            <a:off x="642066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95400" y="1341438"/>
            <a:ext cx="5616000" cy="5364163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 sz="160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9"/>
            <a:ext cx="5616000" cy="5364161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420036" y="1341438"/>
            <a:ext cx="5616000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one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399" y="1341438"/>
            <a:ext cx="11341025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400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95400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420036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420037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pic>
        <p:nvPicPr>
          <p:cNvPr id="11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4" y="2522272"/>
            <a:ext cx="11340000" cy="815608"/>
          </a:xfrm>
        </p:spPr>
        <p:txBody>
          <a:bodyPr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300" b="1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4" y="3537012"/>
            <a:ext cx="11340000" cy="286617"/>
          </a:xfrm>
        </p:spPr>
        <p:txBody>
          <a:bodyPr anchor="t" anchorCtr="0">
            <a:spAutoFit/>
          </a:bodyPr>
          <a:lstStyle>
            <a:lvl1pPr>
              <a:lnSpc>
                <a:spcPct val="110000"/>
              </a:lnSpc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en-GB" sz="14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5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5084950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4760652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3429000"/>
          </a:xfrm>
          <a:noFill/>
        </p:spPr>
        <p:txBody>
          <a:bodyPr bIns="900000"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3753532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824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248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824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248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325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992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660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5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992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660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Our Topics</a:t>
            </a:r>
            <a:endParaRPr lang="en-GB" noProof="0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95325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11992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328660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1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>
            <a:lvl1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 baseline="0"/>
            </a:lvl1pPr>
            <a:lvl2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2pPr>
            <a:lvl3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3pPr>
            <a:lvl4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4pPr>
            <a:lvl5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5pPr>
          </a:lstStyle>
          <a:p>
            <a:pPr lvl="0"/>
            <a:r>
              <a:rPr lang="de-DE" noProof="0"/>
              <a:t>Add text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0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695325" y="368299"/>
            <a:ext cx="11341099" cy="612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95325" y="1341438"/>
            <a:ext cx="11341100" cy="53641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First level: Sub-headline</a:t>
            </a:r>
            <a:endParaRPr lang="en-GB" noProof="0" dirty="0"/>
          </a:p>
          <a:p>
            <a:pPr lvl="1"/>
            <a:r>
              <a:rPr lang="en-US" noProof="0" dirty="0"/>
              <a:t>Second level: First bullet point level</a:t>
            </a:r>
            <a:endParaRPr lang="en-US" noProof="0" dirty="0"/>
          </a:p>
          <a:p>
            <a:pPr lvl="2"/>
            <a:r>
              <a:rPr lang="en-US" noProof="0" dirty="0"/>
              <a:t>Third level: Second bullet point level</a:t>
            </a:r>
            <a:endParaRPr lang="en-US" noProof="0" dirty="0"/>
          </a:p>
          <a:p>
            <a:pPr lvl="3"/>
            <a:r>
              <a:rPr lang="en-US" noProof="0" dirty="0"/>
              <a:t>Fourth level: Third bullet point level</a:t>
            </a:r>
            <a:endParaRPr lang="en-US" noProof="0" dirty="0"/>
          </a:p>
          <a:p>
            <a:pPr lvl="4"/>
            <a:r>
              <a:rPr lang="en-US" noProof="0" dirty="0"/>
              <a:t>Fifth level: Fourth bullet point level</a:t>
            </a:r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043999" y="116081"/>
            <a:ext cx="10980000" cy="158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700" dirty="0">
                <a:latin typeface="Audi Type Extended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1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SzPct val="100000"/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15900" indent="-215900" algn="l" defTabSz="914400" rtl="0" eaLnBrk="1" latinLnBrk="0" hangingPunct="1">
        <a:lnSpc>
          <a:spcPct val="110000"/>
        </a:lnSpc>
        <a:spcBef>
          <a:spcPts val="600"/>
        </a:spcBef>
        <a:buClr>
          <a:srgbClr val="CC003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18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77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accent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235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Relationship Id="rId3" Type="http://schemas.openxmlformats.org/officeDocument/2006/relationships/tags" Target="../tags/tag23.xml"/><Relationship Id="rId2" Type="http://schemas.openxmlformats.org/officeDocument/2006/relationships/chart" Target="../charts/chart11.xml"/><Relationship Id="rId1" Type="http://schemas.openxmlformats.org/officeDocument/2006/relationships/chart" Target="../charts/chart10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1.bin"/><Relationship Id="rId2" Type="http://schemas.openxmlformats.org/officeDocument/2006/relationships/tags" Target="../tags/tag25.xml"/><Relationship Id="rId1" Type="http://schemas.openxmlformats.org/officeDocument/2006/relationships/chart" Target="../charts/chart1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Relationship Id="rId3" Type="http://schemas.openxmlformats.org/officeDocument/2006/relationships/tags" Target="../tags/tag27.xml"/><Relationship Id="rId2" Type="http://schemas.openxmlformats.org/officeDocument/2006/relationships/chart" Target="../charts/chart14.xml"/><Relationship Id="rId1" Type="http://schemas.openxmlformats.org/officeDocument/2006/relationships/chart" Target="../charts/chart13.xml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0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3.bin"/><Relationship Id="rId2" Type="http://schemas.openxmlformats.org/officeDocument/2006/relationships/tags" Target="../tags/tag29.xml"/><Relationship Id="rId1" Type="http://schemas.openxmlformats.org/officeDocument/2006/relationships/chart" Target="../charts/chart1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Relationship Id="rId3" Type="http://schemas.openxmlformats.org/officeDocument/2006/relationships/tags" Target="../tags/tag31.xml"/><Relationship Id="rId2" Type="http://schemas.openxmlformats.org/officeDocument/2006/relationships/chart" Target="../charts/chart17.xml"/><Relationship Id="rId1" Type="http://schemas.openxmlformats.org/officeDocument/2006/relationships/chart" Target="../charts/chart16.xml"/></Relationships>
</file>

<file path=ppt/slides/_rels/slide1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5.bin"/><Relationship Id="rId2" Type="http://schemas.openxmlformats.org/officeDocument/2006/relationships/tags" Target="../tags/tag33.xml"/><Relationship Id="rId1" Type="http://schemas.openxmlformats.org/officeDocument/2006/relationships/chart" Target="../charts/chart1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Relationship Id="rId3" Type="http://schemas.openxmlformats.org/officeDocument/2006/relationships/tags" Target="../tags/tag35.xml"/><Relationship Id="rId2" Type="http://schemas.openxmlformats.org/officeDocument/2006/relationships/chart" Target="../charts/chart20.xml"/><Relationship Id="rId1" Type="http://schemas.openxmlformats.org/officeDocument/2006/relationships/chart" Target="../charts/chart19.xml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7.bin"/><Relationship Id="rId2" Type="http://schemas.openxmlformats.org/officeDocument/2006/relationships/tags" Target="../tags/tag37.xml"/><Relationship Id="rId1" Type="http://schemas.openxmlformats.org/officeDocument/2006/relationships/chart" Target="../charts/chart2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Relationship Id="rId3" Type="http://schemas.openxmlformats.org/officeDocument/2006/relationships/tags" Target="../tags/tag39.xml"/><Relationship Id="rId2" Type="http://schemas.openxmlformats.org/officeDocument/2006/relationships/chart" Target="../charts/chart23.xml"/><Relationship Id="rId1" Type="http://schemas.openxmlformats.org/officeDocument/2006/relationships/chart" Target="../charts/chart22.xml"/></Relationships>
</file>

<file path=ppt/slides/_rels/slide1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9.bin"/><Relationship Id="rId2" Type="http://schemas.openxmlformats.org/officeDocument/2006/relationships/tags" Target="../tags/tag41.xml"/><Relationship Id="rId1" Type="http://schemas.openxmlformats.org/officeDocument/2006/relationships/chart" Target="../charts/chart24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Relationship Id="rId3" Type="http://schemas.openxmlformats.org/officeDocument/2006/relationships/tags" Target="../tags/tag43.xml"/><Relationship Id="rId2" Type="http://schemas.openxmlformats.org/officeDocument/2006/relationships/chart" Target="../charts/chart26.xml"/><Relationship Id="rId1" Type="http://schemas.openxmlformats.org/officeDocument/2006/relationships/chart" Target="../charts/chart25.xml"/></Relationships>
</file>

<file path=ppt/slides/_rels/slide2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1.bin"/><Relationship Id="rId2" Type="http://schemas.openxmlformats.org/officeDocument/2006/relationships/tags" Target="../tags/tag45.xml"/><Relationship Id="rId1" Type="http://schemas.openxmlformats.org/officeDocument/2006/relationships/chart" Target="../charts/chart2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2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2.bin"/><Relationship Id="rId3" Type="http://schemas.openxmlformats.org/officeDocument/2006/relationships/tags" Target="../tags/tag47.xml"/><Relationship Id="rId2" Type="http://schemas.openxmlformats.org/officeDocument/2006/relationships/chart" Target="../charts/chart29.xml"/><Relationship Id="rId1" Type="http://schemas.openxmlformats.org/officeDocument/2006/relationships/chart" Target="../charts/chart2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3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3.bin"/><Relationship Id="rId3" Type="http://schemas.openxmlformats.org/officeDocument/2006/relationships/tags" Target="../tags/tag49.xml"/><Relationship Id="rId2" Type="http://schemas.openxmlformats.org/officeDocument/2006/relationships/chart" Target="../charts/chart31.xml"/><Relationship Id="rId1" Type="http://schemas.openxmlformats.org/officeDocument/2006/relationships/chart" Target="../charts/chart30.xml"/></Relationships>
</file>

<file path=ppt/slides/_rels/slide2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4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52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24.bin"/><Relationship Id="rId1" Type="http://schemas.openxmlformats.org/officeDocument/2006/relationships/tags" Target="../tags/tag51.xml"/></Relationships>
</file>

<file path=ppt/slides/_rels/slide2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5.bin"/><Relationship Id="rId2" Type="http://schemas.openxmlformats.org/officeDocument/2006/relationships/tags" Target="../tags/tag53.xml"/><Relationship Id="rId1" Type="http://schemas.openxmlformats.org/officeDocument/2006/relationships/chart" Target="../charts/chart3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6.bin"/><Relationship Id="rId3" Type="http://schemas.openxmlformats.org/officeDocument/2006/relationships/tags" Target="../tags/tag55.xml"/><Relationship Id="rId2" Type="http://schemas.openxmlformats.org/officeDocument/2006/relationships/chart" Target="../charts/chart34.xml"/><Relationship Id="rId1" Type="http://schemas.openxmlformats.org/officeDocument/2006/relationships/chart" Target="../charts/chart33.xml"/></Relationships>
</file>

<file path=ppt/slides/_rels/slide2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7.bin"/><Relationship Id="rId2" Type="http://schemas.openxmlformats.org/officeDocument/2006/relationships/tags" Target="../tags/tag57.xml"/><Relationship Id="rId1" Type="http://schemas.openxmlformats.org/officeDocument/2006/relationships/chart" Target="../charts/chart35.xml"/></Relationships>
</file>

<file path=ppt/slides/_rels/slide2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8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60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28.bin"/><Relationship Id="rId1" Type="http://schemas.openxmlformats.org/officeDocument/2006/relationships/tags" Target="../tags/tag59.xml"/></Relationships>
</file>

<file path=ppt/slides/_rels/slide2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9.bin"/><Relationship Id="rId2" Type="http://schemas.openxmlformats.org/officeDocument/2006/relationships/tags" Target="../tags/tag61.xml"/><Relationship Id="rId1" Type="http://schemas.openxmlformats.org/officeDocument/2006/relationships/chart" Target="../charts/chart36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3.bin"/><Relationship Id="rId1" Type="http://schemas.openxmlformats.org/officeDocument/2006/relationships/tags" Target="../tags/tag5.xml"/></Relationships>
</file>

<file path=ppt/slides/_rels/slide3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.xml"/><Relationship Id="rId8" Type="http://schemas.openxmlformats.org/officeDocument/2006/relationships/vmlDrawing" Target="../drawings/vmlDrawing3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6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Relationship Id="rId3" Type="http://schemas.openxmlformats.org/officeDocument/2006/relationships/tags" Target="../tags/tag63.xml"/><Relationship Id="rId2" Type="http://schemas.openxmlformats.org/officeDocument/2006/relationships/chart" Target="../charts/chart38.xml"/><Relationship Id="rId1" Type="http://schemas.openxmlformats.org/officeDocument/2006/relationships/chart" Target="../charts/chart37.xml"/></Relationships>
</file>

<file path=ppt/slides/_rels/slide3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31.bin"/><Relationship Id="rId2" Type="http://schemas.openxmlformats.org/officeDocument/2006/relationships/tags" Target="../tags/tag65.xml"/><Relationship Id="rId1" Type="http://schemas.openxmlformats.org/officeDocument/2006/relationships/chart" Target="../charts/chart39.xml"/></Relationships>
</file>

<file path=ppt/slides/_rels/slide3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2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9.xml"/><Relationship Id="rId4" Type="http://schemas.openxmlformats.org/officeDocument/2006/relationships/tags" Target="../tags/tag68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32.bin"/><Relationship Id="rId1" Type="http://schemas.openxmlformats.org/officeDocument/2006/relationships/tags" Target="../tags/tag67.xml"/></Relationships>
</file>

<file path=ppt/slides/_rels/slide3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2.xml"/><Relationship Id="rId4" Type="http://schemas.openxmlformats.org/officeDocument/2006/relationships/tags" Target="../tags/tag71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3.bin"/><Relationship Id="rId1" Type="http://schemas.openxmlformats.org/officeDocument/2006/relationships/tags" Target="../tags/tag70.xml"/></Relationships>
</file>

<file path=ppt/slides/_rels/slide3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4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4.bin"/><Relationship Id="rId1" Type="http://schemas.openxmlformats.org/officeDocument/2006/relationships/tags" Target="../tags/tag73.xml"/></Relationships>
</file>

<file path=ppt/slides/_rels/slide3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8.xml"/><Relationship Id="rId4" Type="http://schemas.openxmlformats.org/officeDocument/2006/relationships/tags" Target="../tags/tag77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5.bin"/><Relationship Id="rId1" Type="http://schemas.openxmlformats.org/officeDocument/2006/relationships/tags" Target="../tags/tag76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.xml"/><Relationship Id="rId8" Type="http://schemas.openxmlformats.org/officeDocument/2006/relationships/tags" Target="../tags/tag11.xml"/><Relationship Id="rId7" Type="http://schemas.openxmlformats.org/officeDocument/2006/relationships/tags" Target="../tags/tag10.xml"/><Relationship Id="rId6" Type="http://schemas.openxmlformats.org/officeDocument/2006/relationships/tags" Target="../tags/tag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Relationship Id="rId3" Type="http://schemas.openxmlformats.org/officeDocument/2006/relationships/tags" Target="../tags/tag8.xml"/><Relationship Id="rId2" Type="http://schemas.openxmlformats.org/officeDocument/2006/relationships/chart" Target="../charts/chart2.xml"/><Relationship Id="rId10" Type="http://schemas.openxmlformats.org/officeDocument/2006/relationships/vmlDrawing" Target="../drawings/vmlDrawing4.vml"/><Relationship Id="rId1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5.bin"/><Relationship Id="rId2" Type="http://schemas.openxmlformats.org/officeDocument/2006/relationships/tags" Target="../tags/tag12.xml"/><Relationship Id="rId1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Relationship Id="rId3" Type="http://schemas.openxmlformats.org/officeDocument/2006/relationships/tags" Target="../tags/tag15.xml"/><Relationship Id="rId2" Type="http://schemas.openxmlformats.org/officeDocument/2006/relationships/chart" Target="../charts/chart5.xml"/><Relationship Id="rId1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1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7.bin"/><Relationship Id="rId2" Type="http://schemas.openxmlformats.org/officeDocument/2006/relationships/tags" Target="../tags/tag17.xml"/><Relationship Id="rId1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Relationship Id="rId3" Type="http://schemas.openxmlformats.org/officeDocument/2006/relationships/tags" Target="../tags/tag19.xml"/><Relationship Id="rId2" Type="http://schemas.openxmlformats.org/officeDocument/2006/relationships/chart" Target="../charts/chart8.xml"/><Relationship Id="rId1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9.bin"/><Relationship Id="rId2" Type="http://schemas.openxmlformats.org/officeDocument/2006/relationships/tags" Target="../tags/tag21.xml"/><Relationship Id="rId1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altLang="zh-CN" dirty="0"/>
              <a:t>Weekly</a:t>
            </a:r>
            <a:r>
              <a:rPr lang="en-US" dirty="0"/>
              <a:t> Report of Go e-</a:t>
            </a:r>
            <a:r>
              <a:rPr lang="en-US" dirty="0" err="1"/>
              <a:t>tron</a:t>
            </a:r>
            <a:r>
              <a:rPr lang="en-US" dirty="0"/>
              <a:t> App (CW13, 20</a:t>
            </a:r>
            <a:r>
              <a:rPr lang="en-US" altLang="zh-CN" dirty="0"/>
              <a:t>20</a:t>
            </a:r>
            <a:r>
              <a:rPr lang="en-US" dirty="0"/>
              <a:t>)</a:t>
            </a:r>
            <a:r>
              <a:rPr lang="en-GB" dirty="0"/>
              <a:t> </a:t>
            </a:r>
            <a:br>
              <a:rPr lang="en-GB" dirty="0"/>
            </a:br>
            <a:br>
              <a:rPr lang="en-GB" dirty="0"/>
            </a:br>
            <a:r>
              <a:rPr lang="en-GB" dirty="0"/>
              <a:t>M</a:t>
            </a:r>
            <a:r>
              <a:rPr lang="en-US" altLang="en-GB" dirty="0"/>
              <a:t>ar</a:t>
            </a:r>
            <a:r>
              <a:rPr lang="en-US" altLang="zh-CN" dirty="0"/>
              <a:t> 30</a:t>
            </a:r>
            <a:r>
              <a:rPr lang="en-GB" dirty="0"/>
              <a:t>,2020</a:t>
            </a:r>
            <a:br>
              <a:rPr lang="en-GB" dirty="0"/>
            </a:b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0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active users &amp; average daily active user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95325" y="996543"/>
            <a:ext cx="1119857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the average active users equals to total active user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active user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active user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active user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2484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698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324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ctives user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302734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active users: the number of users who used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09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302590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64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CW13 vs. CW12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5387693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journeys</a:t>
            </a:r>
            <a:r>
              <a:rPr lang="en-US" altLang="zh-CN" sz="1400" kern="0" dirty="0"/>
              <a:t>: the number of total journeys recorded by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9" name="图表 8"/>
          <p:cNvGraphicFramePr/>
          <p:nvPr/>
        </p:nvGraphicFramePr>
        <p:xfrm>
          <a:off x="419850" y="2169160"/>
          <a:ext cx="52959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4" name="图表 3"/>
          <p:cNvGraphicFramePr/>
          <p:nvPr/>
        </p:nvGraphicFramePr>
        <p:xfrm>
          <a:off x="5965940" y="2169160"/>
          <a:ext cx="52959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0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708679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j</a:t>
            </a:r>
            <a:r>
              <a:rPr lang="en-US" altLang="zh-CN" sz="1400" dirty="0"/>
              <a:t>ourneys</a:t>
            </a:r>
            <a:r>
              <a:rPr lang="en-US" altLang="zh-CN" sz="1400" kern="0" dirty="0"/>
              <a:t>: the number of total journeys recorded by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journeys &amp; average daily journey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83185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09600" y="1015336"/>
            <a:ext cx="1090843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the average weekly journeys equals to total journey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journey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journey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journey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6811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72800" y="21580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17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6745436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j</a:t>
            </a:r>
            <a:r>
              <a:rPr lang="en-US" altLang="zh-CN" sz="1400" dirty="0"/>
              <a:t>ourneys </a:t>
            </a:r>
            <a:r>
              <a:rPr lang="en-US" altLang="zh-CN" sz="1400" kern="0" dirty="0"/>
              <a:t>: the number of total journeys recorded by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54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Daily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CW13 vs. CW12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918520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r</a:t>
            </a:r>
            <a:r>
              <a:rPr lang="en-US" altLang="zh-CN" sz="1400" dirty="0" err="1"/>
              <a:t>unning</a:t>
            </a:r>
            <a:r>
              <a:rPr lang="en-US" altLang="zh-CN" sz="1400" dirty="0"/>
              <a:t> time </a:t>
            </a:r>
            <a:r>
              <a:rPr lang="en-US" altLang="zh-CN" sz="1400" kern="0" dirty="0"/>
              <a:t>: the average using time of the app per active user per day(total using time / number of daily active users).</a:t>
            </a: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779145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189979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3" name="TextBox 8"/>
          <p:cNvSpPr txBox="1"/>
          <p:nvPr/>
        </p:nvSpPr>
        <p:spPr>
          <a:xfrm>
            <a:off x="10738613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327775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5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45932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week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916940" y="1447800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7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unning time &amp; average daily running time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8353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unning time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running time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01524" y="2132162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16524" y="2140789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634048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month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44924" y="130259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45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95324" y="990600"/>
            <a:ext cx="5400676" cy="5181600"/>
          </a:xfrm>
        </p:spPr>
        <p:txBody>
          <a:bodyPr/>
          <a:lstStyle/>
          <a:p>
            <a:r>
              <a:rPr lang="en-US" altLang="zh-CN" b="1" dirty="0"/>
              <a:t>App Downloads</a:t>
            </a:r>
            <a:endParaRPr lang="en-US" altLang="zh-CN" b="1" dirty="0"/>
          </a:p>
          <a:p>
            <a:r>
              <a:rPr lang="en-US" altLang="zh-CN" sz="1000" dirty="0"/>
              <a:t>Daily downloads CW13 vs. CW12 </a:t>
            </a:r>
            <a:r>
              <a:rPr lang="en-US" sz="1000" b="1" dirty="0"/>
              <a:t>– Page 4</a:t>
            </a:r>
            <a:endParaRPr lang="en-US" sz="1000" b="1" dirty="0"/>
          </a:p>
          <a:p>
            <a:r>
              <a:rPr lang="en-US" altLang="zh-CN" sz="1000" dirty="0"/>
              <a:t>Weekly downloads since go live </a:t>
            </a:r>
            <a:r>
              <a:rPr lang="en-US" sz="1000" b="1" dirty="0"/>
              <a:t>– Page 5</a:t>
            </a:r>
            <a:endParaRPr lang="en-US" sz="1000" b="1" dirty="0"/>
          </a:p>
          <a:p>
            <a:r>
              <a:rPr lang="en-US" altLang="zh-CN" sz="1000" dirty="0"/>
              <a:t>Average weekly downloads &amp; average daily downloads</a:t>
            </a:r>
            <a:r>
              <a:rPr lang="en-US" altLang="zh-CN" sz="1000" b="1" dirty="0"/>
              <a:t>–</a:t>
            </a:r>
            <a:r>
              <a:rPr lang="en-US" altLang="zh-CN" sz="1000" dirty="0"/>
              <a:t> </a:t>
            </a:r>
            <a:r>
              <a:rPr lang="en-US" altLang="zh-CN" sz="1000" b="1" dirty="0"/>
              <a:t>Page 6</a:t>
            </a:r>
            <a:endParaRPr lang="en-US" altLang="zh-CN" sz="1000" b="1" dirty="0"/>
          </a:p>
          <a:p>
            <a:r>
              <a:rPr lang="en-US" altLang="zh-CN" sz="1000" dirty="0"/>
              <a:t>Monthly downloads since go live </a:t>
            </a:r>
            <a:r>
              <a:rPr lang="en-US" altLang="zh-CN" sz="1000" b="1" dirty="0"/>
              <a:t>– Page 7</a:t>
            </a:r>
            <a:endParaRPr lang="en-US" altLang="zh-CN" sz="1000" b="1" dirty="0"/>
          </a:p>
          <a:p>
            <a:r>
              <a:rPr lang="en-US" altLang="zh-CN" b="1" dirty="0"/>
              <a:t>Active Users</a:t>
            </a:r>
            <a:endParaRPr lang="en-US" altLang="zh-CN" b="1" dirty="0"/>
          </a:p>
          <a:p>
            <a:r>
              <a:rPr lang="en-US" altLang="zh-CN" sz="1000" dirty="0"/>
              <a:t>Daily active users CW13 vs. CW12 </a:t>
            </a:r>
            <a:r>
              <a:rPr lang="en-US" altLang="zh-CN" sz="1000" b="1" dirty="0"/>
              <a:t>– Page 8</a:t>
            </a:r>
            <a:endParaRPr lang="en-US" altLang="zh-CN" sz="1000" b="1" dirty="0"/>
          </a:p>
          <a:p>
            <a:r>
              <a:rPr lang="en-US" altLang="zh-CN" sz="1000" dirty="0"/>
              <a:t>Weekly active users since go live </a:t>
            </a:r>
            <a:r>
              <a:rPr lang="en-US" altLang="zh-CN" sz="1000" b="1" dirty="0"/>
              <a:t>– Page 9</a:t>
            </a:r>
            <a:endParaRPr lang="en-US" altLang="zh-CN" sz="1000" b="1" dirty="0"/>
          </a:p>
          <a:p>
            <a:r>
              <a:rPr lang="en-US" altLang="zh-CN" sz="1000" dirty="0"/>
              <a:t>Average weekly active users &amp; average daily active users  </a:t>
            </a:r>
            <a:r>
              <a:rPr lang="en-US" altLang="zh-CN" sz="1000" b="1" dirty="0"/>
              <a:t>– Page 10</a:t>
            </a:r>
            <a:endParaRPr lang="en-US" altLang="zh-CN" sz="1000" b="1" dirty="0"/>
          </a:p>
          <a:p>
            <a:r>
              <a:rPr lang="en-US" altLang="zh-CN" sz="1000" dirty="0"/>
              <a:t>Monthly active users since go live </a:t>
            </a:r>
            <a:r>
              <a:rPr lang="en-US" altLang="zh-CN" sz="1000" b="1" dirty="0"/>
              <a:t>– Page 11</a:t>
            </a:r>
            <a:endParaRPr lang="en-US" altLang="zh-CN" sz="1000" b="1" dirty="0"/>
          </a:p>
          <a:p>
            <a:r>
              <a:rPr lang="en-US" altLang="zh-CN" b="1" dirty="0"/>
              <a:t>Journeys</a:t>
            </a:r>
            <a:endParaRPr lang="en-US" altLang="zh-CN" b="1" dirty="0"/>
          </a:p>
          <a:p>
            <a:r>
              <a:rPr lang="en-US" altLang="zh-CN" sz="1000" dirty="0"/>
              <a:t>Daily journeys CW13 vs. CW12 </a:t>
            </a:r>
            <a:r>
              <a:rPr lang="en-US" altLang="zh-CN" sz="1000" b="1" dirty="0"/>
              <a:t>– Page 12</a:t>
            </a:r>
            <a:endParaRPr lang="en-US" altLang="zh-CN" sz="1000" b="1" dirty="0"/>
          </a:p>
          <a:p>
            <a:r>
              <a:rPr lang="en-US" altLang="zh-CN" sz="1000" dirty="0"/>
              <a:t>Weekly journeys since go live </a:t>
            </a:r>
            <a:r>
              <a:rPr lang="en-US" altLang="zh-CN" sz="1000" b="1" dirty="0"/>
              <a:t>– Page 13</a:t>
            </a:r>
            <a:endParaRPr lang="en-US" altLang="zh-CN" sz="1000" b="1" dirty="0"/>
          </a:p>
          <a:p>
            <a:r>
              <a:rPr lang="en-US" altLang="zh-CN" sz="1000" dirty="0"/>
              <a:t>Average weekly journeys &amp; average daily journeys</a:t>
            </a:r>
            <a:r>
              <a:rPr lang="en-US" altLang="zh-CN" sz="1000" b="1" dirty="0"/>
              <a:t>– Page 14</a:t>
            </a:r>
            <a:endParaRPr lang="en-US" altLang="zh-CN" sz="1000" b="1" dirty="0"/>
          </a:p>
          <a:p>
            <a:r>
              <a:rPr lang="en-US" altLang="zh-CN" sz="1000" dirty="0"/>
              <a:t>Monthly journeys since go live </a:t>
            </a:r>
            <a:r>
              <a:rPr lang="en-US" altLang="zh-CN" sz="1000" b="1" dirty="0"/>
              <a:t>– Page 15</a:t>
            </a:r>
            <a:endParaRPr lang="en-US" altLang="zh-CN" sz="1000" b="1" dirty="0"/>
          </a:p>
          <a:p>
            <a:pPr lvl="0"/>
            <a:r>
              <a:rPr lang="en-US" altLang="zh-CN" b="1" dirty="0"/>
              <a:t>Running Time</a:t>
            </a:r>
            <a:endParaRPr lang="en-US" altLang="zh-CN" b="1" dirty="0"/>
          </a:p>
          <a:p>
            <a:pPr lvl="0"/>
            <a:r>
              <a:rPr lang="en-US" altLang="zh-CN" sz="1000" dirty="0"/>
              <a:t>Daily running time CW13 vs. CW12 – </a:t>
            </a:r>
            <a:r>
              <a:rPr lang="en-US" altLang="zh-CN" sz="1000" b="1" dirty="0"/>
              <a:t>Page 16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Weekly running time since go live – </a:t>
            </a:r>
            <a:r>
              <a:rPr lang="en-US" altLang="zh-CN" sz="1000" b="1" dirty="0"/>
              <a:t>Page 17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Average weekly running time &amp; average daily running time– </a:t>
            </a:r>
            <a:r>
              <a:rPr lang="en-US" altLang="zh-CN" sz="1000" b="1" dirty="0"/>
              <a:t>Page 18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Monthly running time since go live – </a:t>
            </a:r>
            <a:r>
              <a:rPr lang="en-US" altLang="zh-CN" sz="1000" b="1" dirty="0"/>
              <a:t>Page 19</a:t>
            </a:r>
            <a:endParaRPr lang="en-US" altLang="zh-CN" sz="1000" b="1" dirty="0"/>
          </a:p>
          <a:p>
            <a:endParaRPr lang="en-US" altLang="zh-CN" sz="1000" b="1" dirty="0"/>
          </a:p>
          <a:p>
            <a:pPr marL="0" indent="0">
              <a:buNone/>
            </a:pPr>
            <a:endParaRPr lang="en-US" altLang="zh-CN" sz="1200" dirty="0"/>
          </a:p>
          <a:p>
            <a:endParaRPr lang="en-US" sz="800" dirty="0"/>
          </a:p>
        </p:txBody>
      </p:sp>
      <p:sp>
        <p:nvSpPr>
          <p:cNvPr id="7" name="Content Placeholder 5"/>
          <p:cNvSpPr txBox="1"/>
          <p:nvPr/>
        </p:nvSpPr>
        <p:spPr bwMode="gray">
          <a:xfrm>
            <a:off x="6410324" y="990600"/>
            <a:ext cx="5400676" cy="518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/>
              <a:t>User Activities</a:t>
            </a:r>
            <a:endParaRPr lang="en-US" altLang="zh-CN" b="1" dirty="0"/>
          </a:p>
          <a:p>
            <a:r>
              <a:rPr lang="en-US" altLang="zh-CN" sz="1000" dirty="0"/>
              <a:t>User activities CW13 vs. CW12</a:t>
            </a:r>
            <a:r>
              <a:rPr lang="en-US" altLang="zh-CN" sz="1000" b="1" dirty="0"/>
              <a:t>– Page 20</a:t>
            </a:r>
            <a:endParaRPr lang="en-US" altLang="zh-CN" sz="1000" b="1" dirty="0"/>
          </a:p>
          <a:p>
            <a:r>
              <a:rPr lang="en-US" altLang="zh-CN" sz="1000" dirty="0"/>
              <a:t>Weekly user activities since go live </a:t>
            </a:r>
            <a:r>
              <a:rPr lang="en-US" altLang="zh-CN" sz="1000" b="1" dirty="0"/>
              <a:t>– Page 21</a:t>
            </a:r>
            <a:endParaRPr lang="en-US" altLang="zh-CN" sz="1000" b="1" dirty="0"/>
          </a:p>
          <a:p>
            <a:r>
              <a:rPr lang="en-US" altLang="zh-CN" sz="1000" dirty="0"/>
              <a:t>Average weekly user activities  &amp; average daily user activities </a:t>
            </a:r>
            <a:r>
              <a:rPr lang="en-US" altLang="zh-CN" sz="1000" b="1" dirty="0"/>
              <a:t>– Page 22</a:t>
            </a:r>
            <a:endParaRPr lang="en-US" altLang="zh-CN" sz="1000" b="1" dirty="0"/>
          </a:p>
          <a:p>
            <a:r>
              <a:rPr lang="en-US" altLang="zh-CN" sz="1000" dirty="0"/>
              <a:t>Monthly user activities since go live </a:t>
            </a:r>
            <a:r>
              <a:rPr lang="en-US" altLang="zh-CN" sz="1000" b="1" dirty="0"/>
              <a:t>– Page 23</a:t>
            </a:r>
            <a:endParaRPr lang="en-US" altLang="zh-CN" sz="1000" b="1" dirty="0"/>
          </a:p>
          <a:p>
            <a:r>
              <a:rPr lang="en-US" altLang="zh-CN" b="1" dirty="0"/>
              <a:t>User Preferred Charging Destination</a:t>
            </a:r>
            <a:endParaRPr lang="en-US" altLang="zh-CN" b="1" dirty="0"/>
          </a:p>
          <a:p>
            <a:r>
              <a:rPr lang="en-US" altLang="zh-CN" sz="1000" dirty="0"/>
              <a:t>User preferred charging destination analysis CW13 vs. CW12 –</a:t>
            </a:r>
            <a:r>
              <a:rPr lang="en-US" altLang="zh-CN" sz="1000" b="1" dirty="0"/>
              <a:t> Page 24</a:t>
            </a:r>
            <a:endParaRPr lang="en-US" altLang="zh-CN" sz="1000" b="1" dirty="0"/>
          </a:p>
          <a:p>
            <a:r>
              <a:rPr lang="en-US" altLang="zh-CN" sz="1000" dirty="0"/>
              <a:t>Weekly user preferred charging destination since go live </a:t>
            </a:r>
            <a:r>
              <a:rPr lang="en-US" altLang="zh-CN" sz="1000" b="1" dirty="0"/>
              <a:t>– Page 25</a:t>
            </a:r>
            <a:endParaRPr lang="en-US" altLang="zh-CN" sz="1000" b="1" dirty="0"/>
          </a:p>
          <a:p>
            <a:r>
              <a:rPr lang="en-US" altLang="zh-CN" sz="1000" dirty="0"/>
              <a:t>Average weekly selected times &amp; average daily selected times</a:t>
            </a:r>
            <a:r>
              <a:rPr lang="en-US" altLang="zh-CN" sz="1000" b="1" dirty="0"/>
              <a:t>– Page 26</a:t>
            </a:r>
            <a:endParaRPr lang="en-US" altLang="zh-CN" sz="1000" b="1" dirty="0"/>
          </a:p>
          <a:p>
            <a:r>
              <a:rPr lang="en-US" altLang="zh-CN" sz="1000" dirty="0"/>
              <a:t>Monthly user preferred charging destination since go live</a:t>
            </a:r>
            <a:r>
              <a:rPr lang="en-US" altLang="zh-CN" sz="1000" b="1" dirty="0"/>
              <a:t>– Page 27</a:t>
            </a:r>
            <a:endParaRPr lang="en-US" altLang="zh-CN" sz="1000" b="1" dirty="0"/>
          </a:p>
          <a:p>
            <a:r>
              <a:rPr lang="en-US" altLang="zh-CN" b="1" dirty="0"/>
              <a:t>Recommended Times</a:t>
            </a:r>
            <a:endParaRPr lang="en-US" altLang="zh-CN" b="1" dirty="0"/>
          </a:p>
          <a:p>
            <a:r>
              <a:rPr lang="en-US" altLang="zh-CN" sz="1000" dirty="0"/>
              <a:t>Daily recommended times CW13 vs. CW12 </a:t>
            </a:r>
            <a:r>
              <a:rPr lang="en-US" altLang="zh-CN" sz="1000" b="1" dirty="0"/>
              <a:t>– Page 28</a:t>
            </a:r>
            <a:endParaRPr lang="en-US" altLang="zh-CN" sz="1000" b="1" dirty="0"/>
          </a:p>
          <a:p>
            <a:r>
              <a:rPr lang="en-US" altLang="zh-CN" sz="1000" dirty="0"/>
              <a:t>Weekly recommended times since go live </a:t>
            </a:r>
            <a:r>
              <a:rPr lang="en-US" altLang="zh-CN" sz="1000" b="1" dirty="0"/>
              <a:t>– Page 29</a:t>
            </a:r>
            <a:endParaRPr lang="en-US" altLang="zh-CN" sz="1000" b="1" dirty="0"/>
          </a:p>
          <a:p>
            <a:r>
              <a:rPr lang="en-US" altLang="zh-CN" sz="1000" dirty="0"/>
              <a:t>Average weekly recommended times &amp; average daily recommended times</a:t>
            </a:r>
            <a:r>
              <a:rPr lang="en-US" altLang="zh-CN" sz="1000" b="1" dirty="0"/>
              <a:t>– Page 30</a:t>
            </a:r>
            <a:endParaRPr lang="en-US" altLang="zh-CN" sz="1000" b="1" dirty="0"/>
          </a:p>
          <a:p>
            <a:r>
              <a:rPr lang="en-US" altLang="zh-CN" sz="1000" dirty="0"/>
              <a:t>Monthly recommended times since go live </a:t>
            </a:r>
            <a:r>
              <a:rPr lang="en-US" altLang="zh-CN" sz="1000" b="1" dirty="0"/>
              <a:t>– Page 31</a:t>
            </a:r>
            <a:endParaRPr lang="en-US" altLang="zh-CN" sz="1000" b="1" dirty="0"/>
          </a:p>
          <a:p>
            <a:r>
              <a:rPr lang="en-US" altLang="zh-CN" b="1" dirty="0"/>
              <a:t>IT Operation</a:t>
            </a:r>
            <a:endParaRPr lang="en-US" altLang="zh-CN" b="1" dirty="0"/>
          </a:p>
          <a:p>
            <a:r>
              <a:rPr lang="en-US" altLang="zh-CN" sz="1000" dirty="0"/>
              <a:t>Tickets/requests report of CW13</a:t>
            </a:r>
            <a:r>
              <a:rPr lang="en-US" altLang="zh-CN" sz="1000" b="1" dirty="0"/>
              <a:t>– Page 32</a:t>
            </a:r>
            <a:endParaRPr lang="en-US" altLang="zh-CN" sz="1000" b="1" dirty="0"/>
          </a:p>
          <a:p>
            <a:r>
              <a:rPr lang="en-US" altLang="zh-CN" sz="1000" dirty="0"/>
              <a:t>Log &amp; alert review report of CW13</a:t>
            </a:r>
            <a:r>
              <a:rPr lang="en-US" altLang="zh-CN" sz="1000" b="1" dirty="0"/>
              <a:t>-Page 33</a:t>
            </a:r>
            <a:endParaRPr lang="en-US" altLang="zh-CN" sz="1000" b="1" dirty="0"/>
          </a:p>
          <a:p>
            <a:r>
              <a:rPr lang="en-US" altLang="zh-CN" sz="1000" dirty="0"/>
              <a:t>SLA report of CW13</a:t>
            </a:r>
            <a:r>
              <a:rPr lang="en-US" altLang="zh-CN" sz="1000" b="1" dirty="0"/>
              <a:t>-Page 34</a:t>
            </a:r>
            <a:endParaRPr lang="en-US" altLang="zh-CN" sz="1000" b="1" dirty="0"/>
          </a:p>
          <a:p>
            <a:endParaRPr lang="en-US" altLang="zh-CN" sz="1000" b="1" dirty="0"/>
          </a:p>
          <a:p>
            <a:endParaRPr lang="en-US" sz="1200" dirty="0"/>
          </a:p>
          <a:p>
            <a:endParaRPr lang="en-US" sz="800" dirty="0"/>
          </a:p>
        </p:txBody>
      </p:sp>
    </p:spTree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8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activities CW13 vs. CW12</a:t>
            </a:r>
            <a:endParaRPr lang="en-US" dirty="0"/>
          </a:p>
        </p:txBody>
      </p:sp>
      <p:sp>
        <p:nvSpPr>
          <p:cNvPr id="9" name="TextBox 5"/>
          <p:cNvSpPr txBox="1"/>
          <p:nvPr/>
        </p:nvSpPr>
        <p:spPr>
          <a:xfrm>
            <a:off x="695325" y="990600"/>
            <a:ext cx="9783127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discover more: the total times that users have clicked “Discover More” button to see Audi Models detail information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contact: the total times that users have clicked 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“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”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button to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request test drive: the total times that users have clicked “Request a test drive” button to apply for a test drive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6" name="Chart 7"/>
          <p:cNvGraphicFramePr/>
          <p:nvPr/>
        </p:nvGraphicFramePr>
        <p:xfrm>
          <a:off x="882650" y="2132964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43306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9"/>
          <p:cNvSpPr txBox="1"/>
          <p:nvPr/>
        </p:nvSpPr>
        <p:spPr>
          <a:xfrm>
            <a:off x="1089596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Chart 7"/>
          <p:cNvGraphicFramePr/>
          <p:nvPr/>
        </p:nvGraphicFramePr>
        <p:xfrm>
          <a:off x="6555105" y="2133599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0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39039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Chart 7"/>
          <p:cNvGraphicFramePr/>
          <p:nvPr/>
        </p:nvGraphicFramePr>
        <p:xfrm>
          <a:off x="696913" y="2133600"/>
          <a:ext cx="10884766" cy="4343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2133599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6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user activities &amp; average daily user activitie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706755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981198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user activiti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times of user activiti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user activitie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e.g. the average daily  user activities of  CW21= total</a:t>
            </a:r>
            <a:r>
              <a:rPr lang="en-US" altLang="zh-CN" sz="1400" dirty="0"/>
              <a:t> times of user activiti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63665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49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6870" y="1015336"/>
            <a:ext cx="937436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95325" y="2143664"/>
          <a:ext cx="7543800" cy="3547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8" name="Object 15"/>
          <p:cNvGraphicFramePr>
            <a:graphicFrameLocks noGrp="1"/>
          </p:cNvGraphicFramePr>
          <p:nvPr>
            <p:ph sz="quarter" idx="13"/>
          </p:nvPr>
        </p:nvGraphicFramePr>
        <p:xfrm>
          <a:off x="8382000" y="2148558"/>
          <a:ext cx="3276600" cy="3542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67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User preferred charging destination analysis CW13 vs. CW12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69900" y="1295400"/>
            <a:ext cx="113411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in CW26/times that users selected all following types in CW26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13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" name="TextBox 1"/>
          <p:cNvSpPr txBox="1"/>
          <p:nvPr/>
        </p:nvSpPr>
        <p:spPr>
          <a:xfrm>
            <a:off x="764286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12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9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preferred charging destination analysis since go live</a:t>
            </a:r>
            <a:endParaRPr lang="en-US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325" y="1447800"/>
          <a:ext cx="9665566" cy="4953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25000" y="15240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7850" y="962680"/>
            <a:ext cx="1134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</a:t>
            </a:r>
            <a:r>
              <a:rPr lang="en-US" altLang="zh-CN" sz="1400" dirty="0">
                <a:solidFill>
                  <a:srgbClr val="000000"/>
                </a:solidFill>
                <a:latin typeface="Audi Type"/>
              </a:rPr>
              <a:t>bar char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shows the times that users have selected following types of nearby activities </a:t>
            </a:r>
            <a:r>
              <a:rPr lang="en-US" sz="1400" noProof="0" dirty="0">
                <a:solidFill>
                  <a:srgbClr val="000000"/>
                </a:solidFill>
                <a:latin typeface="Audi Type"/>
              </a:rPr>
              <a:t>whe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filtering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</p:spTree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1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selected times &amp; average daily selected times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49642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10" name="Chart 7"/>
          <p:cNvGraphicFramePr/>
          <p:nvPr/>
        </p:nvGraphicFramePr>
        <p:xfrm>
          <a:off x="6400800" y="2133600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06870" y="1015336"/>
            <a:ext cx="926215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select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sp>
        <p:nvSpPr>
          <p:cNvPr id="11" name="TextBox 10"/>
          <p:cNvSpPr txBox="1"/>
          <p:nvPr/>
        </p:nvSpPr>
        <p:spPr>
          <a:xfrm>
            <a:off x="5264785" y="215721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972800" y="21496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3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hly user preferred charging destination analysis since go liv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09600" y="1315546"/>
            <a:ext cx="11341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beginning of this month /times that users selected all following types from beginning of this month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图表 8"/>
          <p:cNvGraphicFramePr/>
          <p:nvPr/>
        </p:nvGraphicFramePr>
        <p:xfrm>
          <a:off x="6245087" y="2527762"/>
          <a:ext cx="5250815" cy="3949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0751449" y="250211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Mar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42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recommended times CW13 vs. CW12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14375" y="1019175"/>
            <a:ext cx="8032584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</a:t>
            </a:r>
            <a:r>
              <a:rPr lang="en-US" altLang="zh-CN" sz="1400" noProof="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recommended to users per day.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7647305" y="341578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12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" name="TextBox 1"/>
          <p:cNvSpPr txBox="1"/>
          <p:nvPr/>
        </p:nvSpPr>
        <p:spPr>
          <a:xfrm>
            <a:off x="1748790" y="341578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13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8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recommended time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200899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</a:t>
            </a:r>
            <a:r>
              <a:rPr lang="en-US" altLang="zh-CN" sz="140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week.</a:t>
            </a:r>
            <a:endParaRPr lang="en-US" altLang="zh-CN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30259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33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04800"/>
            <a:ext cx="11341099" cy="612429"/>
          </a:xfrm>
        </p:spPr>
        <p:txBody>
          <a:bodyPr/>
          <a:lstStyle/>
          <a:p>
            <a:r>
              <a:rPr lang="en-US" dirty="0"/>
              <a:t>Data summary</a:t>
            </a:r>
            <a:br>
              <a:rPr lang="en-US" dirty="0"/>
            </a:br>
            <a:br>
              <a:rPr lang="en-US" sz="1200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95325" y="634662"/>
          <a:ext cx="10896600" cy="58828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6308"/>
                <a:gridCol w="1570367"/>
                <a:gridCol w="1571625"/>
                <a:gridCol w="1816100"/>
                <a:gridCol w="1816100"/>
                <a:gridCol w="1816100"/>
              </a:tblGrid>
              <a:tr h="62885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Item</a:t>
                      </a:r>
                      <a:endParaRPr lang="zh-CN" alt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CW12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CW11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Growth %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total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w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eekly averag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(CW1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5, 2019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-CW12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,2020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)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pp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ownload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8.46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31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5.6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4734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ctive user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user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1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47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8.9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Journey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7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.3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unning Tim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minut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9.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.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7.03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26.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4.2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ood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Shopping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8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un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2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Beauty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6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itness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iscover Mor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50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4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.8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Contact Aud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.9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quest Test Driv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5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commendation time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sym typeface="+mn-ea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.4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Incident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3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730"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6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ecommended times &amp; average daily recommended time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1922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18622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4098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067487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0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recommended time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402878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3963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24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Tickets/requests report of CW13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85800" y="1464205"/>
          <a:ext cx="10744200" cy="332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/>
                <a:gridCol w="1828800"/>
                <a:gridCol w="2362200"/>
                <a:gridCol w="2286000"/>
                <a:gridCol w="2667000"/>
              </a:tblGrid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cket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  Volume</a:t>
                      </a:r>
                      <a:r>
                        <a:rPr lang="en-US" baseline="0" dirty="0"/>
                        <a:t>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ponse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toration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cident</a:t>
                      </a:r>
                      <a:r>
                        <a:rPr lang="en-US" baseline="0" dirty="0"/>
                        <a:t> Description</a:t>
                      </a:r>
                      <a:endParaRPr lang="en-US" dirty="0"/>
                    </a:p>
                  </a:txBody>
                  <a:tcPr anchor="ctr"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35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98634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og &amp; alert review report of CW13</a:t>
            </a:r>
            <a:br>
              <a:rPr lang="en-US" altLang="zh-CN" dirty="0"/>
            </a:br>
            <a:br>
              <a:rPr lang="zh-CN" altLang="zh-CN" dirty="0"/>
            </a:br>
            <a:endParaRPr lang="zh-CN" altLang="en-US" dirty="0"/>
          </a:p>
        </p:txBody>
      </p:sp>
      <p:graphicFrame>
        <p:nvGraphicFramePr>
          <p:cNvPr id="6" name="内容占位符 5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4" y="1341438"/>
          <a:ext cx="11339830" cy="5302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51355"/>
                <a:gridCol w="1899285"/>
                <a:gridCol w="1544320"/>
                <a:gridCol w="1543685"/>
                <a:gridCol w="2007235"/>
                <a:gridCol w="1313180"/>
                <a:gridCol w="1080770"/>
              </a:tblGrid>
              <a:tr h="736600"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Rule Nam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Generated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ource Typ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bnormal Resourc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Polic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Severit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Alarm Statu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79475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AbnormalReplicationStatu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+mn-ea"/>
                          <a:cs typeface="+mn-cs"/>
                        </a:rPr>
                        <a:t>2020/3/27 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08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：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5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：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21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GMT+08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：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关系型数据库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复制状态异常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l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23925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FaultyDBlnstan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27 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54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34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关系型数据库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实例运行状态异常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1440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AbnormalReplicationStatu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27 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5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10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关系型数据库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复制状态异常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83820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FaultyDBlnstan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27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9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3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11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关系型数据库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实例运行状态异常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1440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ReolicationStatusRecover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27 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9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19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46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关系型数据库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复制状态异常已恢复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35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98634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og &amp; alert review report of CW13</a:t>
            </a:r>
            <a:br>
              <a:rPr lang="en-US" altLang="zh-CN" dirty="0"/>
            </a:br>
            <a:br>
              <a:rPr lang="zh-CN" altLang="zh-CN" dirty="0"/>
            </a:br>
            <a:endParaRPr lang="zh-CN" altLang="en-US" dirty="0"/>
          </a:p>
        </p:txBody>
      </p:sp>
      <p:graphicFrame>
        <p:nvGraphicFramePr>
          <p:cNvPr id="6" name="内容占位符 5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4" y="1341438"/>
          <a:ext cx="11339830" cy="5302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29435"/>
                <a:gridCol w="2021205"/>
                <a:gridCol w="1544320"/>
                <a:gridCol w="1543685"/>
                <a:gridCol w="2007235"/>
                <a:gridCol w="1313180"/>
                <a:gridCol w="1080770"/>
              </a:tblGrid>
              <a:tr h="736600"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Rule Nam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Generated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ource Typ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bnormal Resourc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Polic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Severit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Alarm Statu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79475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ReolicationStatusRecover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27 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9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19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46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关系型数据库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复制状态异常已恢复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23925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ReolicationStatusRecover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27 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9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19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48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关系型数据库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复制状态异常已恢复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1440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ReolicationStatusRecover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27 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9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19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48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关系型数据库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复制状态异常已恢复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83820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DBlinstanceRecover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27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9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24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46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关系型数据库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实例运行状态异常已恢复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1440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DBlinstanceRecover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27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9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24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49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关系型数据库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实例运行状态异常已恢复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5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graphicFrame>
        <p:nvGraphicFramePr>
          <p:cNvPr id="4" name="内容占位符 3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5" y="1481139"/>
          <a:ext cx="11075987" cy="41576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95633"/>
                <a:gridCol w="2595633"/>
                <a:gridCol w="2072098"/>
                <a:gridCol w="2072098"/>
                <a:gridCol w="1740525"/>
              </a:tblGrid>
              <a:tr h="70025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te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pected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ervice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Minimu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ctual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9148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evant Application SLA</a:t>
                      </a:r>
                      <a:endParaRPr lang="en-US" sz="1200" b="1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vailability of Go e-</a:t>
                      </a:r>
                      <a:r>
                        <a:rPr lang="en-US" sz="120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tron</a:t>
                      </a: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Service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2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91480">
                <a:tc rowSpan="4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frastructure Systems SLA</a:t>
                      </a:r>
                      <a:endParaRPr lang="en-US" sz="1200" b="1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Cloud Server (ECS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IP (EIP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Load Balance (ELB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ational Database Service (RDS) 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LA report of CW13</a:t>
            </a:r>
            <a:br>
              <a:rPr lang="zh-CN" altLang="zh-CN" dirty="0"/>
            </a:br>
            <a:endParaRPr lang="zh-CN" altLang="en-US" dirty="0"/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2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Daily downloads CW13 vs. CW12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86034" y="908050"/>
            <a:ext cx="978473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Dai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/Baidu market(Android) per day.</a:t>
            </a:r>
            <a:endParaRPr lang="en-US" altLang="zh-CN" sz="1400" kern="0" dirty="0"/>
          </a:p>
        </p:txBody>
      </p:sp>
      <p:graphicFrame>
        <p:nvGraphicFramePr>
          <p:cNvPr id="4" name="图表 3"/>
          <p:cNvGraphicFramePr/>
          <p:nvPr/>
        </p:nvGraphicFramePr>
        <p:xfrm>
          <a:off x="899478" y="164211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7" name="Table 8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888365" y="5648131"/>
          <a:ext cx="5305689" cy="68413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3150"/>
              </a:tblGrid>
              <a:tr h="44450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3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3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13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3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图表 8"/>
          <p:cNvGraphicFramePr/>
          <p:nvPr/>
        </p:nvGraphicFramePr>
        <p:xfrm>
          <a:off x="6501448" y="1642745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Table 8"/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490335" y="5648766"/>
          <a:ext cx="5305689" cy="68413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3150"/>
              </a:tblGrid>
              <a:tr h="44450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2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2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12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2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98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download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914400"/>
            <a:ext cx="9874498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/Baidu market(Android) per week.</a:t>
            </a:r>
            <a:endParaRPr lang="en-US" altLang="zh-CN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84385" y="14478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2" name="Table 8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800" y="5986675"/>
          <a:ext cx="5715000" cy="561340"/>
        </p:xfrm>
        <a:graphic>
          <a:graphicData uri="http://schemas.openxmlformats.org/drawingml/2006/table">
            <a:tbl>
              <a:tblPr/>
              <a:tblGrid>
                <a:gridCol w="1585324"/>
                <a:gridCol w="1527171"/>
                <a:gridCol w="1446794"/>
                <a:gridCol w="1155711"/>
              </a:tblGrid>
              <a:tr h="34163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App Store(iOS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Huawei(Android）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1971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5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" name="Chart 7"/>
          <p:cNvGraphicFramePr/>
          <p:nvPr/>
        </p:nvGraphicFramePr>
        <p:xfrm>
          <a:off x="685800" y="1447483"/>
          <a:ext cx="9741766" cy="4343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downloads &amp; average daily download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10570730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the average weekly downloads equals to total downloads from go live till end of this week/number of weeks;  e.g. the average weekly download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e.g. the average daily downloads of  CW21= total downloads of CW21/7</a:t>
            </a:r>
            <a:endParaRPr lang="en-US" altLang="zh-CN" sz="1400" kern="0" dirty="0"/>
          </a:p>
        </p:txBody>
      </p:sp>
      <p:sp>
        <p:nvSpPr>
          <p:cNvPr id="9" name="TextBox 5"/>
          <p:cNvSpPr txBox="1"/>
          <p:nvPr/>
        </p:nvSpPr>
        <p:spPr>
          <a:xfrm>
            <a:off x="5340985" y="214797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" name="TextBox 5"/>
          <p:cNvSpPr txBox="1"/>
          <p:nvPr/>
        </p:nvSpPr>
        <p:spPr>
          <a:xfrm>
            <a:off x="10981054" y="215096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700226" y="2133600"/>
          <a:ext cx="5410200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6" name="Chart 7"/>
          <p:cNvGraphicFramePr/>
          <p:nvPr/>
        </p:nvGraphicFramePr>
        <p:xfrm>
          <a:off x="6365874" y="2132965"/>
          <a:ext cx="5370195" cy="3658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16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download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838200"/>
            <a:ext cx="9964266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 /Baidu market(Android) per month.</a:t>
            </a:r>
            <a:endParaRPr lang="en-US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01200" y="147943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695440" y="1479550"/>
          <a:ext cx="9741766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6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6870" y="459507"/>
            <a:ext cx="11341099" cy="612429"/>
          </a:xfrm>
        </p:spPr>
        <p:txBody>
          <a:bodyPr/>
          <a:lstStyle/>
          <a:p>
            <a:r>
              <a:rPr lang="en-US" dirty="0"/>
              <a:t>Daily active users </a:t>
            </a:r>
            <a:r>
              <a:rPr lang="en-US" altLang="zh-CN" dirty="0"/>
              <a:t>CW13 vs. CW12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481862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active</a:t>
            </a:r>
            <a:r>
              <a:rPr lang="en-US" altLang="zh-CN" sz="1400" kern="0" dirty="0"/>
              <a:t> users: the number of users who used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707056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092577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" name="TextBox 11"/>
          <p:cNvSpPr txBox="1"/>
          <p:nvPr/>
        </p:nvSpPr>
        <p:spPr>
          <a:xfrm>
            <a:off x="10646470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436026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7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active users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20495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active users: the number of users who used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295401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UNIT_TABLE_BEAUTIFY" val="smartTable{3fb6a8c9-98bc-45a5-ab00-1b8f423dee36}"/>
</p:tagLst>
</file>

<file path=ppt/tags/tag11.xml><?xml version="1.0" encoding="utf-8"?>
<p:tagLst xmlns:p="http://schemas.openxmlformats.org/presentationml/2006/main">
  <p:tag name="KSO_WM_UNIT_TABLE_BEAUTIFY" val="smartTable{3fb6a8c9-98bc-45a5-ab00-1b8f423dee36}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QLENygviQLyBl83JsV6Plg"/>
</p:tagLst>
</file>

<file path=ppt/tags/tag14.xml><?xml version="1.0" encoding="utf-8"?>
<p:tagLst xmlns:p="http://schemas.openxmlformats.org/presentationml/2006/main">
  <p:tag name="KSO_WM_UNIT_TABLE_BEAUTIFY" val="smartTable{9632fa71-2ddb-4159-ae3c-b86f5a842281}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QLENygviQLyBl83JsV6Plg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QLENygviQLyBl83JsV6Plg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woLoLql6RUeuYQ4rLl7q1Q"/>
</p:tagLst>
</file>

<file path=ppt/tags/tag20.xml><?xml version="1.0" encoding="utf-8"?>
<p:tagLst xmlns:p="http://schemas.openxmlformats.org/presentationml/2006/main">
  <p:tag name="THINKCELLSHAPEDONOTDELETE" val="tQLENygviQLyBl83JsV6Plg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22.xml><?xml version="1.0" encoding="utf-8"?>
<p:tagLst xmlns:p="http://schemas.openxmlformats.org/presentationml/2006/main">
  <p:tag name="THINKCELLSHAPEDONOTDELETE" val="tQLENygviQLyBl83JsV6Plg"/>
</p:tagLst>
</file>

<file path=ppt/tags/tag23.xml><?xml version="1.0" encoding="utf-8"?>
<p:tagLst xmlns:p="http://schemas.openxmlformats.org/presentationml/2006/main">
  <p:tag name="THINKCELLSHAPEDONOTDELETE" val="thinkcellActiveDocDoNotDelete"/>
</p:tagLst>
</file>

<file path=ppt/tags/tag24.xml><?xml version="1.0" encoding="utf-8"?>
<p:tagLst xmlns:p="http://schemas.openxmlformats.org/presentationml/2006/main">
  <p:tag name="THINKCELLSHAPEDONOTDELETE" val="tQLENygviQLyBl83JsV6Plg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tQLENygviQLyBl83JsV6Plg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QLENygviQLyBl83JsV6Plg"/>
</p:tagLst>
</file>

<file path=ppt/tags/tag29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QLENygviQLyBl83JsV6Plg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THINKCELLSHAPEDONOTDELETE" val="tQLENygviQLyBl83JsV6Plg"/>
</p:tagLst>
</file>

<file path=ppt/tags/tag33.xml><?xml version="1.0" encoding="utf-8"?>
<p:tagLst xmlns:p="http://schemas.openxmlformats.org/presentationml/2006/main">
  <p:tag name="THINKCELLSHAPEDONOTDELETE" val="thinkcellActiveDocDoNotDelete"/>
</p:tagLst>
</file>

<file path=ppt/tags/tag34.xml><?xml version="1.0" encoding="utf-8"?>
<p:tagLst xmlns:p="http://schemas.openxmlformats.org/presentationml/2006/main">
  <p:tag name="THINKCELLSHAPEDONOTDELETE" val="tQLENygviQLyBl83JsV6Plg"/>
</p:tagLst>
</file>

<file path=ppt/tags/tag35.xml><?xml version="1.0" encoding="utf-8"?>
<p:tagLst xmlns:p="http://schemas.openxmlformats.org/presentationml/2006/main">
  <p:tag name="THINKCELLSHAPEDONOTDELETE" val="thinkcellActiveDocDoNotDelete"/>
</p:tagLst>
</file>

<file path=ppt/tags/tag36.xml><?xml version="1.0" encoding="utf-8"?>
<p:tagLst xmlns:p="http://schemas.openxmlformats.org/presentationml/2006/main">
  <p:tag name="THINKCELLSHAPEDONOTDELETE" val="tQLENygviQLyBl83JsV6Plg"/>
</p:tagLst>
</file>

<file path=ppt/tags/tag37.xml><?xml version="1.0" encoding="utf-8"?>
<p:tagLst xmlns:p="http://schemas.openxmlformats.org/presentationml/2006/main">
  <p:tag name="THINKCELLSHAPEDONOTDELETE" val="thinkcellActiveDocDoNotDelete"/>
</p:tagLst>
</file>

<file path=ppt/tags/tag38.xml><?xml version="1.0" encoding="utf-8"?>
<p:tagLst xmlns:p="http://schemas.openxmlformats.org/presentationml/2006/main">
  <p:tag name="THINKCELLSHAPEDONOTDELETE" val="tQLENygviQLyBl83JsV6Plg"/>
</p:tagLst>
</file>

<file path=ppt/tags/tag39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CtXsL_FcQ4ecxtJfZcTn1A"/>
</p:tagLst>
</file>

<file path=ppt/tags/tag40.xml><?xml version="1.0" encoding="utf-8"?>
<p:tagLst xmlns:p="http://schemas.openxmlformats.org/presentationml/2006/main">
  <p:tag name="THINKCELLSHAPEDONOTDELETE" val="tQLENygviQLyBl83JsV6Plg"/>
</p:tagLst>
</file>

<file path=ppt/tags/tag41.xml><?xml version="1.0" encoding="utf-8"?>
<p:tagLst xmlns:p="http://schemas.openxmlformats.org/presentationml/2006/main">
  <p:tag name="THINKCELLSHAPEDONOTDELETE" val="thinkcellActiveDocDoNotDelete"/>
</p:tagLst>
</file>

<file path=ppt/tags/tag42.xml><?xml version="1.0" encoding="utf-8"?>
<p:tagLst xmlns:p="http://schemas.openxmlformats.org/presentationml/2006/main">
  <p:tag name="THINKCELLSHAPEDONOTDELETE" val="tQLENygviQLyBl83JsV6Plg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QLENygviQLyBl83JsV6Plg"/>
</p:tagLst>
</file>

<file path=ppt/tags/tag45.xml><?xml version="1.0" encoding="utf-8"?>
<p:tagLst xmlns:p="http://schemas.openxmlformats.org/presentationml/2006/main">
  <p:tag name="THINKCELLSHAPEDONOTDELETE" val="thinkcellActiveDocDoNotDelete"/>
</p:tagLst>
</file>

<file path=ppt/tags/tag46.xml><?xml version="1.0" encoding="utf-8"?>
<p:tagLst xmlns:p="http://schemas.openxmlformats.org/presentationml/2006/main">
  <p:tag name="THINKCELLSHAPEDONOTDELETE" val="tQLENygviQLyBl83JsV6Plg"/>
</p:tagLst>
</file>

<file path=ppt/tags/tag47.xml><?xml version="1.0" encoding="utf-8"?>
<p:tagLst xmlns:p="http://schemas.openxmlformats.org/presentationml/2006/main">
  <p:tag name="THINKCELLSHAPEDONOTDELETE" val="thinkcellActiveDocDoNotDelete"/>
</p:tagLst>
</file>

<file path=ppt/tags/tag48.xml><?xml version="1.0" encoding="utf-8"?>
<p:tagLst xmlns:p="http://schemas.openxmlformats.org/presentationml/2006/main">
  <p:tag name="THINKCELLSHAPEDONOTDELETE" val="tQLENygviQLyBl83JsV6Plg"/>
</p:tagLst>
</file>

<file path=ppt/tags/tag49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QLENygviQLyBl83JsV6Plg"/>
</p:tagLst>
</file>

<file path=ppt/tags/tag51.xml><?xml version="1.0" encoding="utf-8"?>
<p:tagLst xmlns:p="http://schemas.openxmlformats.org/presentationml/2006/main">
  <p:tag name="THINKCELLSHAPEDONOTDELETE" val="thinkcellActiveDocDoNotDelete"/>
</p:tagLst>
</file>

<file path=ppt/tags/tag52.xml><?xml version="1.0" encoding="utf-8"?>
<p:tagLst xmlns:p="http://schemas.openxmlformats.org/presentationml/2006/main">
  <p:tag name="THINKCELLSHAPEDONOTDELETE" val="tG1JxiPNwRz.CeyOxFcvljA"/>
</p:tagLst>
</file>

<file path=ppt/tags/tag53.xml><?xml version="1.0" encoding="utf-8"?>
<p:tagLst xmlns:p="http://schemas.openxmlformats.org/presentationml/2006/main">
  <p:tag name="THINKCELLSHAPEDONOTDELETE" val="thinkcellActiveDocDoNotDelete"/>
</p:tagLst>
</file>

<file path=ppt/tags/tag54.xml><?xml version="1.0" encoding="utf-8"?>
<p:tagLst xmlns:p="http://schemas.openxmlformats.org/presentationml/2006/main">
  <p:tag name="THINKCELLSHAPEDONOTDELETE" val="tQLENygviQLyBl83JsV6Plg"/>
</p:tagLst>
</file>

<file path=ppt/tags/tag55.xml><?xml version="1.0" encoding="utf-8"?>
<p:tagLst xmlns:p="http://schemas.openxmlformats.org/presentationml/2006/main">
  <p:tag name="THINKCELLSHAPEDONOTDELETE" val="thinkcellActiveDocDoNotDelete"/>
</p:tagLst>
</file>

<file path=ppt/tags/tag56.xml><?xml version="1.0" encoding="utf-8"?>
<p:tagLst xmlns:p="http://schemas.openxmlformats.org/presentationml/2006/main">
  <p:tag name="THINKCELLSHAPEDONOTDELETE" val="tQLENygviQLyBl83JsV6Plg"/>
</p:tagLst>
</file>

<file path=ppt/tags/tag57.xml><?xml version="1.0" encoding="utf-8"?>
<p:tagLst xmlns:p="http://schemas.openxmlformats.org/presentationml/2006/main">
  <p:tag name="THINKCELLSHAPEDONOTDELETE" val="thinkcellActiveDocDoNotDelete"/>
</p:tagLst>
</file>

<file path=ppt/tags/tag58.xml><?xml version="1.0" encoding="utf-8"?>
<p:tagLst xmlns:p="http://schemas.openxmlformats.org/presentationml/2006/main">
  <p:tag name="THINKCELLSHAPEDONOTDELETE" val="t6JrEv0hCRge0U7GucsMppQ"/>
</p:tagLst>
</file>

<file path=ppt/tags/tag59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CtXsL_FcQ4ecxtJfZcTn1A"/>
</p:tagLst>
</file>

<file path=ppt/tags/tag60.xml><?xml version="1.0" encoding="utf-8"?>
<p:tagLst xmlns:p="http://schemas.openxmlformats.org/presentationml/2006/main">
  <p:tag name="THINKCELLSHAPEDONOTDELETE" val="tQLENygviQLyBl83JsV6Plg"/>
</p:tagLst>
</file>

<file path=ppt/tags/tag61.xml><?xml version="1.0" encoding="utf-8"?>
<p:tagLst xmlns:p="http://schemas.openxmlformats.org/presentationml/2006/main">
  <p:tag name="THINKCELLSHAPEDONOTDELETE" val="thinkcellActiveDocDoNotDelete"/>
</p:tagLst>
</file>

<file path=ppt/tags/tag62.xml><?xml version="1.0" encoding="utf-8"?>
<p:tagLst xmlns:p="http://schemas.openxmlformats.org/presentationml/2006/main">
  <p:tag name="THINKCELLSHAPEDONOTDELETE" val="tQLENygviQLyBl83JsV6Plg"/>
</p:tagLst>
</file>

<file path=ppt/tags/tag63.xml><?xml version="1.0" encoding="utf-8"?>
<p:tagLst xmlns:p="http://schemas.openxmlformats.org/presentationml/2006/main">
  <p:tag name="THINKCELLSHAPEDONOTDELETE" val="thinkcellActiveDocDoNotDelete"/>
</p:tagLst>
</file>

<file path=ppt/tags/tag64.xml><?xml version="1.0" encoding="utf-8"?>
<p:tagLst xmlns:p="http://schemas.openxmlformats.org/presentationml/2006/main">
  <p:tag name="THINKCELLSHAPEDONOTDELETE" val="tQLENygviQLyBl83JsV6Plg"/>
</p:tagLst>
</file>

<file path=ppt/tags/tag65.xml><?xml version="1.0" encoding="utf-8"?>
<p:tagLst xmlns:p="http://schemas.openxmlformats.org/presentationml/2006/main">
  <p:tag name="THINKCELLSHAPEDONOTDELETE" val="thinkcellActiveDocDoNotDelete"/>
</p:tagLst>
</file>

<file path=ppt/tags/tag66.xml><?xml version="1.0" encoding="utf-8"?>
<p:tagLst xmlns:p="http://schemas.openxmlformats.org/presentationml/2006/main">
  <p:tag name="THINKCELLSHAPEDONOTDELETE" val="tQLENygviQLyBl83JsV6Plg"/>
</p:tagLst>
</file>

<file path=ppt/tags/tag67.xml><?xml version="1.0" encoding="utf-8"?>
<p:tagLst xmlns:p="http://schemas.openxmlformats.org/presentationml/2006/main">
  <p:tag name="THINKCELLSHAPEDONOTDELETE" val="thinkcellActiveDocDoNotDelete"/>
</p:tagLst>
</file>

<file path=ppt/tags/tag68.xml><?xml version="1.0" encoding="utf-8"?>
<p:tagLst xmlns:p="http://schemas.openxmlformats.org/presentationml/2006/main">
  <p:tag name="THINKCELLSHAPEDONOTDELETE" val="tQLENygviQLyBl83JsV6Plg"/>
</p:tagLst>
</file>

<file path=ppt/tags/tag69.xml><?xml version="1.0" encoding="utf-8"?>
<p:tagLst xmlns:p="http://schemas.openxmlformats.org/presentationml/2006/main">
  <p:tag name="KSO_WM_UNIT_TABLE_BEAUTIFY" val="smartTable{a7b48daa-640c-4a45-8ea6-4a11ea6a042d}"/>
</p:tagLst>
</file>

<file path=ppt/tags/tag7.xml><?xml version="1.0" encoding="utf-8"?>
<p:tagLst xmlns:p="http://schemas.openxmlformats.org/presentationml/2006/main">
  <p:tag name="KSO_WM_UNIT_TABLE_BEAUTIFY" val="smartTable{7a40a6f9-7244-4fce-92a2-a83749066e06}"/>
</p:tagLst>
</file>

<file path=ppt/tags/tag70.xml><?xml version="1.0" encoding="utf-8"?>
<p:tagLst xmlns:p="http://schemas.openxmlformats.org/presentationml/2006/main">
  <p:tag name="THINKCELLSHAPEDONOTDELETE" val="thinkcellActiveDocDoNotDelete"/>
</p:tagLst>
</file>

<file path=ppt/tags/tag71.xml><?xml version="1.0" encoding="utf-8"?>
<p:tagLst xmlns:p="http://schemas.openxmlformats.org/presentationml/2006/main">
  <p:tag name="THINKCELLSHAPEDONOTDELETE" val="tAqrdWBk6QOqdh7N2Sulvng"/>
</p:tagLst>
</file>

<file path=ppt/tags/tag72.xml><?xml version="1.0" encoding="utf-8"?>
<p:tagLst xmlns:p="http://schemas.openxmlformats.org/presentationml/2006/main">
  <p:tag name="KSO_WM_UNIT_TABLE_BEAUTIFY" val="smartTable{a37833e2-7a5c-4f0d-94aa-47f774f57f94}"/>
</p:tagLst>
</file>

<file path=ppt/tags/tag73.xml><?xml version="1.0" encoding="utf-8"?>
<p:tagLst xmlns:p="http://schemas.openxmlformats.org/presentationml/2006/main">
  <p:tag name="THINKCELLSHAPEDONOTDELETE" val="thinkcellActiveDocDoNotDelete"/>
</p:tagLst>
</file>

<file path=ppt/tags/tag74.xml><?xml version="1.0" encoding="utf-8"?>
<p:tagLst xmlns:p="http://schemas.openxmlformats.org/presentationml/2006/main">
  <p:tag name="THINKCELLSHAPEDONOTDELETE" val="tAqrdWBk6QOqdh7N2Sulvng"/>
</p:tagLst>
</file>

<file path=ppt/tags/tag75.xml><?xml version="1.0" encoding="utf-8"?>
<p:tagLst xmlns:p="http://schemas.openxmlformats.org/presentationml/2006/main">
  <p:tag name="KSO_WM_UNIT_TABLE_BEAUTIFY" val="smartTable{a37833e2-7a5c-4f0d-94aa-47f774f57f94}"/>
</p:tagLst>
</file>

<file path=ppt/tags/tag76.xml><?xml version="1.0" encoding="utf-8"?>
<p:tagLst xmlns:p="http://schemas.openxmlformats.org/presentationml/2006/main">
  <p:tag name="THINKCELLSHAPEDONOTDELETE" val="thinkcellActiveDocDoNotDelete"/>
</p:tagLst>
</file>

<file path=ppt/tags/tag77.xml><?xml version="1.0" encoding="utf-8"?>
<p:tagLst xmlns:p="http://schemas.openxmlformats.org/presentationml/2006/main">
  <p:tag name="THINKCELLSHAPEDONOTDELETE" val="tAqrdWBk6QOqdh7N2Sulvng"/>
</p:tagLst>
</file>

<file path=ppt/tags/tag78.xml><?xml version="1.0" encoding="utf-8"?>
<p:tagLst xmlns:p="http://schemas.openxmlformats.org/presentationml/2006/main">
  <p:tag name="KSO_WM_UNIT_TABLE_BEAUTIFY" val="smartTable{dfb63ea6-2e9e-4201-988a-f90fc0aa7d9f}"/>
</p:tagLst>
</file>

<file path=ppt/tags/tag79.xml><?xml version="1.0" encoding="utf-8"?>
<p:tagLst xmlns:p="http://schemas.openxmlformats.org/presentationml/2006/main">
  <p:tag name="THINKCELLUNDODONOTDELETE" val="0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QLENygviQLyBl83JsV6Plg"/>
</p:tagLst>
</file>

<file path=ppt/theme/theme1.xml><?xml version="1.0" encoding="utf-8"?>
<a:theme xmlns:a="http://schemas.openxmlformats.org/drawingml/2006/main" name="Audi_PPT-Template_16x9_EN">
  <a:themeElements>
    <a:clrScheme name="AUDI 02">
      <a:dk1>
        <a:srgbClr val="000000"/>
      </a:dk1>
      <a:lt1>
        <a:srgbClr val="FFFFFF"/>
      </a:lt1>
      <a:dk2>
        <a:srgbClr val="000000"/>
      </a:dk2>
      <a:lt2>
        <a:srgbClr val="DADADA"/>
      </a:lt2>
      <a:accent1>
        <a:srgbClr val="DADADA"/>
      </a:accent1>
      <a:accent2>
        <a:srgbClr val="C6C6C6"/>
      </a:accent2>
      <a:accent3>
        <a:srgbClr val="9D9D9D"/>
      </a:accent3>
      <a:accent4>
        <a:srgbClr val="575757"/>
      </a:accent4>
      <a:accent5>
        <a:srgbClr val="000000"/>
      </a:accent5>
      <a:accent6>
        <a:srgbClr val="BB0A30"/>
      </a:accent6>
      <a:hlink>
        <a:srgbClr val="000000"/>
      </a:hlink>
      <a:folHlink>
        <a:srgbClr val="C6C6C6"/>
      </a:folHlink>
    </a:clrScheme>
    <a:fontScheme name="Audi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 cap="sq" cmpd="sng" algn="ctr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noAutofit/>
      </a:bodyPr>
      <a:lstStyle>
        <a:defPPr algn="l">
          <a:lnSpc>
            <a:spcPct val="110000"/>
          </a:lnSpc>
          <a:spcBef>
            <a:spcPts val="800"/>
          </a:spcBef>
          <a:spcAft>
            <a:spcPts val="600"/>
          </a:spcAft>
          <a:defRPr sz="1400" b="1" smtClean="0">
            <a:solidFill>
              <a:schemeClr val="tx1"/>
            </a:solidFill>
            <a:latin typeface="+mn-lt"/>
          </a:defRPr>
        </a:defPPr>
      </a:lstStyle>
    </a:spDef>
    <a:lnDef>
      <a:spPr>
        <a:noFill/>
        <a:ln w="9525" cap="flat" cmpd="sng" algn="ctr">
          <a:solidFill>
            <a:schemeClr val="tx2"/>
          </a:solidFill>
          <a:prstDash val="solid"/>
        </a:ln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1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4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</a:defRPr>
        </a:defPPr>
      </a:lstStyle>
    </a:txDef>
  </a:objectDefaults>
  <a:custClrLst>
    <a:custClr name="Audi Red">
      <a:srgbClr val="BB0A30"/>
    </a:custClr>
    <a:custClr name="Green">
      <a:srgbClr val="CACE98"/>
    </a:custClr>
    <a:custClr name="Brown">
      <a:srgbClr val="715D49"/>
    </a:custClr>
    <a:custClr name="Purple">
      <a:srgbClr val="6C4859"/>
    </a:custClr>
    <a:custClr name="Dark Blue">
      <a:srgbClr val="544C70"/>
    </a:custClr>
    <a:custClr name="Light Blue">
      <a:srgbClr val="6682A4"/>
    </a:custClr>
    <a:custClr name="Yellow">
      <a:srgbClr val="FFD671"/>
    </a:custClr>
    <a:custClr name="Audi Red">
      <a:srgbClr val="BB0A30"/>
    </a:custClr>
    <a:custClr name="Traffic light Yellow">
      <a:srgbClr val="FFAA00"/>
    </a:custClr>
    <a:custClr name="Traffic light Green">
      <a:srgbClr val="009900"/>
    </a:custClr>
    <a:custClr name="Aluminium Silver">
      <a:srgbClr val="B3B3B3"/>
    </a:custClr>
    <a:custClr name="Warm Silver">
      <a:srgbClr val="B6B1A9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x9 Audi template_confidential</Template>
  <TotalTime>0</TotalTime>
  <Words>11787</Words>
  <Application>WPS 演示</Application>
  <PresentationFormat>宽屏</PresentationFormat>
  <Paragraphs>887</Paragraphs>
  <Slides>35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5</vt:i4>
      </vt:variant>
      <vt:variant>
        <vt:lpstr>幻灯片标题</vt:lpstr>
      </vt:variant>
      <vt:variant>
        <vt:i4>35</vt:i4>
      </vt:variant>
    </vt:vector>
  </HeadingPairs>
  <TitlesOfParts>
    <vt:vector size="86" baseType="lpstr">
      <vt:lpstr>Arial</vt:lpstr>
      <vt:lpstr>宋体</vt:lpstr>
      <vt:lpstr>Wingdings</vt:lpstr>
      <vt:lpstr>Audi Type Extended</vt:lpstr>
      <vt:lpstr>Audi Type</vt:lpstr>
      <vt:lpstr>Symbol</vt:lpstr>
      <vt:lpstr>Segoe Print</vt:lpstr>
      <vt:lpstr>等线</vt:lpstr>
      <vt:lpstr>Audi Type</vt:lpstr>
      <vt:lpstr>Calibri</vt:lpstr>
      <vt:lpstr>微软雅黑</vt:lpstr>
      <vt:lpstr>Arial Unicode MS</vt:lpstr>
      <vt:lpstr>Arial</vt:lpstr>
      <vt:lpstr>Heiti SC Light</vt:lpstr>
      <vt:lpstr>VW Headline OT-Book</vt:lpstr>
      <vt:lpstr>Audi_PPT-Template_16x9_EN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he Weekly Report of Go e-tron App (CW13, 2020)   Mar 29,2020 </vt:lpstr>
      <vt:lpstr>Content</vt:lpstr>
      <vt:lpstr>Data summary  </vt:lpstr>
      <vt:lpstr>Daily downloads CW13 vs. CW12</vt:lpstr>
      <vt:lpstr>Weekly downloads since go live</vt:lpstr>
      <vt:lpstr>Average weekly downloads &amp; average daily downloads</vt:lpstr>
      <vt:lpstr>Monthly downloads since go live </vt:lpstr>
      <vt:lpstr>Daily active users CW13 vs. CW12</vt:lpstr>
      <vt:lpstr>Weekly active users since go live </vt:lpstr>
      <vt:lpstr>Average weekly active users &amp; average daily active users </vt:lpstr>
      <vt:lpstr>Monthly actives users since go live</vt:lpstr>
      <vt:lpstr>Daily journeys CW13 vs. CW12</vt:lpstr>
      <vt:lpstr>Weekly journeys since go live </vt:lpstr>
      <vt:lpstr>Average weekly journeys &amp; average daily journeys</vt:lpstr>
      <vt:lpstr>Monthly journeys since go live</vt:lpstr>
      <vt:lpstr>Daily running time CW13 vs. CW12</vt:lpstr>
      <vt:lpstr>Weekly running time since go live </vt:lpstr>
      <vt:lpstr>Average weekly running time &amp; average daily running time</vt:lpstr>
      <vt:lpstr>Monthly running time since go live </vt:lpstr>
      <vt:lpstr>User activities CW13 vs. CW12</vt:lpstr>
      <vt:lpstr>Weekly user activities since go live</vt:lpstr>
      <vt:lpstr>Average weekly user activities &amp; average daily user activities </vt:lpstr>
      <vt:lpstr>Monthly user activities since go live</vt:lpstr>
      <vt:lpstr>User preferred charging destination analysis CW13 vs. CW12</vt:lpstr>
      <vt:lpstr>Weekly user preferred charging destination analysis since go live</vt:lpstr>
      <vt:lpstr>Average weekly selected times &amp; average daily selected times</vt:lpstr>
      <vt:lpstr>Monthly user preferred charging destination analysis since go live</vt:lpstr>
      <vt:lpstr>Daily recommended times CW13 vs. CW12 </vt:lpstr>
      <vt:lpstr>Weekly recommended times since go live </vt:lpstr>
      <vt:lpstr>Average weekly recommended times &amp; average daily recommended times</vt:lpstr>
      <vt:lpstr>Monthly recommended times since go live</vt:lpstr>
      <vt:lpstr>Tickets/requests report of CW13</vt:lpstr>
      <vt:lpstr>Log &amp; alert review report of CW13  </vt:lpstr>
      <vt:lpstr>Log &amp; alert review report of CW13  </vt:lpstr>
      <vt:lpstr>SLA report of CW13 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Junge</dc:creator>
  <cp:lastModifiedBy>兔八哥</cp:lastModifiedBy>
  <cp:revision>1310</cp:revision>
  <dcterms:created xsi:type="dcterms:W3CDTF">2019-06-18T08:03:00Z</dcterms:created>
  <dcterms:modified xsi:type="dcterms:W3CDTF">2020-03-30T07:42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KSOProductBuildVer">
    <vt:lpwstr>2052-11.1.0.9564</vt:lpwstr>
  </property>
</Properties>
</file>